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4"/>
  </p:sldMasterIdLst>
  <p:notesMasterIdLst>
    <p:notesMasterId r:id="rId9"/>
  </p:notesMasterIdLst>
  <p:sldIdLst>
    <p:sldId id="2147483132" r:id="rId5"/>
    <p:sldId id="2147483598" r:id="rId6"/>
    <p:sldId id="272" r:id="rId7"/>
    <p:sldId id="275" r:id="rId8"/>
  </p:sldIdLst>
  <p:sldSz cx="12192000" cy="6858000"/>
  <p:notesSz cx="6797675" cy="9926638"/>
  <p:custDataLst>
    <p:tags r:id="rId10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04C3E"/>
    <a:srgbClr val="712C57"/>
    <a:srgbClr val="6D8C7F"/>
    <a:srgbClr val="83AC9A"/>
    <a:srgbClr val="DCE2D6"/>
    <a:srgbClr val="FFC2C2"/>
    <a:srgbClr val="FAEEC3"/>
    <a:srgbClr val="BBCABA"/>
    <a:srgbClr val="507867"/>
    <a:srgbClr val="4664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E827E6-EB58-4502-AD3C-86DD949CB4D9}" v="6" dt="2025-05-22T07:26:10.309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57" autoAdjust="0"/>
    <p:restoredTop sz="94660"/>
  </p:normalViewPr>
  <p:slideViewPr>
    <p:cSldViewPr snapToGrid="0">
      <p:cViewPr varScale="1">
        <p:scale>
          <a:sx n="68" d="100"/>
          <a:sy n="68" d="100"/>
        </p:scale>
        <p:origin x="7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B498E-4C83-4DC3-9A00-7FC74F9F5D6C}" type="datetimeFigureOut">
              <a:rPr lang="en-US" smtClean="0"/>
              <a:t>5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BA6E28-55C1-42B2-A996-3EFCBA07F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690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D9652-1AAB-4CA5-B4C4-7FA575B39BF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860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23A2EC08-AF2C-44E8-80A1-5FE7B6614C9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50103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5D223C-65FC-44A6-ACAC-3A56C0B992D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010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669D9652-1AAB-4CA5-B4C4-7FA575B39B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16627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8838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2225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6137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9553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Web-traffic and search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6245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208">
          <p15:clr>
            <a:srgbClr val="CCCCCC"/>
          </p15:clr>
        </p15:guide>
        <p15:guide id="9" pos="7472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8.jpeg"/><Relationship Id="rId18" Type="http://schemas.openxmlformats.org/officeDocument/2006/relationships/image" Target="../media/image13.png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7.png"/><Relationship Id="rId17" Type="http://schemas.openxmlformats.org/officeDocument/2006/relationships/image" Target="../media/image12.png"/><Relationship Id="rId2" Type="http://schemas.openxmlformats.org/officeDocument/2006/relationships/tags" Target="../tags/tag4.xml"/><Relationship Id="rId16" Type="http://schemas.openxmlformats.org/officeDocument/2006/relationships/image" Target="../media/image11.png"/><Relationship Id="rId20" Type="http://schemas.openxmlformats.org/officeDocument/2006/relationships/image" Target="../media/image15.jpeg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6.emf"/><Relationship Id="rId5" Type="http://schemas.openxmlformats.org/officeDocument/2006/relationships/tags" Target="../tags/tag7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19" Type="http://schemas.openxmlformats.org/officeDocument/2006/relationships/image" Target="../media/image14.png"/><Relationship Id="rId4" Type="http://schemas.openxmlformats.org/officeDocument/2006/relationships/tags" Target="../tags/tag6.xml"/><Relationship Id="rId9" Type="http://schemas.openxmlformats.org/officeDocument/2006/relationships/image" Target="../media/image1.emf"/><Relationship Id="rId1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7.emf"/><Relationship Id="rId18" Type="http://schemas.openxmlformats.org/officeDocument/2006/relationships/image" Target="../media/image15.jpeg"/><Relationship Id="rId3" Type="http://schemas.openxmlformats.org/officeDocument/2006/relationships/tags" Target="../tags/tag10.xml"/><Relationship Id="rId21" Type="http://schemas.openxmlformats.org/officeDocument/2006/relationships/image" Target="../media/image13.png"/><Relationship Id="rId7" Type="http://schemas.openxmlformats.org/officeDocument/2006/relationships/tags" Target="../tags/tag14.xml"/><Relationship Id="rId12" Type="http://schemas.openxmlformats.org/officeDocument/2006/relationships/image" Target="../media/image16.emf"/><Relationship Id="rId17" Type="http://schemas.openxmlformats.org/officeDocument/2006/relationships/image" Target="../media/image14.png"/><Relationship Id="rId2" Type="http://schemas.openxmlformats.org/officeDocument/2006/relationships/tags" Target="../tags/tag9.xml"/><Relationship Id="rId16" Type="http://schemas.openxmlformats.org/officeDocument/2006/relationships/image" Target="../media/image10.png"/><Relationship Id="rId20" Type="http://schemas.openxmlformats.org/officeDocument/2006/relationships/image" Target="../media/image12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1.emf"/><Relationship Id="rId5" Type="http://schemas.openxmlformats.org/officeDocument/2006/relationships/tags" Target="../tags/tag12.xml"/><Relationship Id="rId15" Type="http://schemas.openxmlformats.org/officeDocument/2006/relationships/image" Target="../media/image9.png"/><Relationship Id="rId23" Type="http://schemas.openxmlformats.org/officeDocument/2006/relationships/image" Target="../media/image7.png"/><Relationship Id="rId10" Type="http://schemas.openxmlformats.org/officeDocument/2006/relationships/oleObject" Target="../embeddings/oleObject3.bin"/><Relationship Id="rId19" Type="http://schemas.openxmlformats.org/officeDocument/2006/relationships/image" Target="../media/image11.png"/><Relationship Id="rId4" Type="http://schemas.openxmlformats.org/officeDocument/2006/relationships/tags" Target="../tags/tag11.xml"/><Relationship Id="rId9" Type="http://schemas.openxmlformats.org/officeDocument/2006/relationships/notesSlide" Target="../notesSlides/notesSlide2.xml"/><Relationship Id="rId14" Type="http://schemas.openxmlformats.org/officeDocument/2006/relationships/image" Target="../media/image8.jpeg"/><Relationship Id="rId22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18.emf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oleObject" Target="../embeddings/oleObject4.bin"/><Relationship Id="rId2" Type="http://schemas.openxmlformats.org/officeDocument/2006/relationships/tags" Target="../tags/tag16.xml"/><Relationship Id="rId16" Type="http://schemas.openxmlformats.org/officeDocument/2006/relationships/image" Target="../media/image7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9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19.e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26" Type="http://schemas.openxmlformats.org/officeDocument/2006/relationships/tags" Target="../tags/tag49.xml"/><Relationship Id="rId39" Type="http://schemas.openxmlformats.org/officeDocument/2006/relationships/notesSlide" Target="../notesSlides/notesSlide4.xml"/><Relationship Id="rId21" Type="http://schemas.openxmlformats.org/officeDocument/2006/relationships/tags" Target="../tags/tag44.xml"/><Relationship Id="rId34" Type="http://schemas.openxmlformats.org/officeDocument/2006/relationships/tags" Target="../tags/tag57.xml"/><Relationship Id="rId42" Type="http://schemas.openxmlformats.org/officeDocument/2006/relationships/image" Target="../media/image21.emf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29" Type="http://schemas.openxmlformats.org/officeDocument/2006/relationships/tags" Target="../tags/tag52.xml"/><Relationship Id="rId41" Type="http://schemas.openxmlformats.org/officeDocument/2006/relationships/image" Target="../media/image1.emf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32" Type="http://schemas.openxmlformats.org/officeDocument/2006/relationships/tags" Target="../tags/tag55.xml"/><Relationship Id="rId37" Type="http://schemas.openxmlformats.org/officeDocument/2006/relationships/tags" Target="../tags/tag60.xml"/><Relationship Id="rId40" Type="http://schemas.openxmlformats.org/officeDocument/2006/relationships/oleObject" Target="../embeddings/oleObject5.bin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tags" Target="../tags/tag51.xml"/><Relationship Id="rId36" Type="http://schemas.openxmlformats.org/officeDocument/2006/relationships/tags" Target="../tags/tag59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31" Type="http://schemas.openxmlformats.org/officeDocument/2006/relationships/tags" Target="../tags/tag54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tags" Target="../tags/tag58.xml"/><Relationship Id="rId43" Type="http://schemas.openxmlformats.org/officeDocument/2006/relationships/image" Target="../media/image7.png"/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33" Type="http://schemas.openxmlformats.org/officeDocument/2006/relationships/tags" Target="../tags/tag56.xml"/><Relationship Id="rId38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981B2DE0-6E5C-799F-0FBE-675A81D5A3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711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5" progId="TCLayout.ActiveDocument.1">
                  <p:embed/>
                </p:oleObj>
              </mc:Choice>
              <mc:Fallback>
                <p:oleObj name="think-cell Slide" r:id="rId8" imgW="404" imgH="405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1B2DE0-6E5C-799F-0FBE-675A81D5A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39A50F66-7DAD-C2D2-8118-6A03926BD048}"/>
              </a:ext>
            </a:extLst>
          </p:cNvPr>
          <p:cNvSpPr/>
          <p:nvPr/>
        </p:nvSpPr>
        <p:spPr bwMode="gray">
          <a:xfrm>
            <a:off x="1453662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6A50D5-A203-82C1-E7C0-E486EE49F087}"/>
              </a:ext>
            </a:extLst>
          </p:cNvPr>
          <p:cNvSpPr/>
          <p:nvPr/>
        </p:nvSpPr>
        <p:spPr bwMode="gray">
          <a:xfrm>
            <a:off x="2397722" y="5806831"/>
            <a:ext cx="359507" cy="2790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FAA49E-B1DA-A325-1B4A-8CF4F69F60E3}"/>
              </a:ext>
            </a:extLst>
          </p:cNvPr>
          <p:cNvSpPr/>
          <p:nvPr/>
        </p:nvSpPr>
        <p:spPr bwMode="gray">
          <a:xfrm>
            <a:off x="3351199" y="5806831"/>
            <a:ext cx="359507" cy="279007"/>
          </a:xfrm>
          <a:prstGeom prst="rect">
            <a:avLst/>
          </a:prstGeom>
          <a:solidFill>
            <a:srgbClr val="FAEE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D0F22E8-53F6-9C87-8948-618B3EEB3F6F}"/>
              </a:ext>
            </a:extLst>
          </p:cNvPr>
          <p:cNvSpPr/>
          <p:nvPr/>
        </p:nvSpPr>
        <p:spPr bwMode="gray">
          <a:xfrm>
            <a:off x="4277416" y="5806831"/>
            <a:ext cx="359507" cy="279007"/>
          </a:xfrm>
          <a:prstGeom prst="rect">
            <a:avLst/>
          </a:prstGeom>
          <a:solidFill>
            <a:srgbClr val="FAEE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CB2058A-04F5-079A-A9E4-A66E1A8EE7BC}"/>
              </a:ext>
            </a:extLst>
          </p:cNvPr>
          <p:cNvSpPr/>
          <p:nvPr/>
        </p:nvSpPr>
        <p:spPr bwMode="gray">
          <a:xfrm>
            <a:off x="5203633" y="5806831"/>
            <a:ext cx="359507" cy="279007"/>
          </a:xfrm>
          <a:prstGeom prst="rect">
            <a:avLst/>
          </a:prstGeom>
          <a:solidFill>
            <a:srgbClr val="FAEE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327B346-F3A6-C1B7-BA58-4608DEFBA46E}"/>
              </a:ext>
            </a:extLst>
          </p:cNvPr>
          <p:cNvSpPr/>
          <p:nvPr/>
        </p:nvSpPr>
        <p:spPr bwMode="gray">
          <a:xfrm>
            <a:off x="6129850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8A0B6B9-5AED-211E-F1C1-98BEC5C5AD69}"/>
              </a:ext>
            </a:extLst>
          </p:cNvPr>
          <p:cNvSpPr/>
          <p:nvPr/>
        </p:nvSpPr>
        <p:spPr bwMode="gray">
          <a:xfrm>
            <a:off x="7087327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D2A34A1-FD9D-F7D1-9447-492C054D23ED}"/>
              </a:ext>
            </a:extLst>
          </p:cNvPr>
          <p:cNvSpPr/>
          <p:nvPr/>
        </p:nvSpPr>
        <p:spPr bwMode="gray">
          <a:xfrm>
            <a:off x="8044804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1F5C516-4FE6-BBE5-B2BA-A2BE7857BAD9}"/>
              </a:ext>
            </a:extLst>
          </p:cNvPr>
          <p:cNvSpPr/>
          <p:nvPr/>
        </p:nvSpPr>
        <p:spPr bwMode="gray">
          <a:xfrm>
            <a:off x="8955391" y="5806831"/>
            <a:ext cx="359507" cy="2790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8B6A350-D875-91A9-0270-BB73766B3F18}"/>
              </a:ext>
            </a:extLst>
          </p:cNvPr>
          <p:cNvSpPr/>
          <p:nvPr/>
        </p:nvSpPr>
        <p:spPr bwMode="gray">
          <a:xfrm>
            <a:off x="9872753" y="5806831"/>
            <a:ext cx="359507" cy="2790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31" name="btfpRunningAgenda1Level887125">
            <a:extLst>
              <a:ext uri="{FF2B5EF4-FFF2-40B4-BE49-F238E27FC236}">
                <a16:creationId xmlns:a16="http://schemas.microsoft.com/office/drawing/2014/main" id="{C793C86F-8E19-C200-3F55-14B4BF33CAD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3650258" cy="257442"/>
            <a:chOff x="0" y="876300"/>
            <a:chExt cx="3650258" cy="257442"/>
          </a:xfrm>
        </p:grpSpPr>
        <p:sp>
          <p:nvSpPr>
            <p:cNvPr id="24" name="btfpRunningAgenda1LevelBarLeft887125">
              <a:extLst>
                <a:ext uri="{FF2B5EF4-FFF2-40B4-BE49-F238E27FC236}">
                  <a16:creationId xmlns:a16="http://schemas.microsoft.com/office/drawing/2014/main" id="{0655E575-7E81-7A21-5C45-B33DD0690D47}"/>
                </a:ext>
              </a:extLst>
            </p:cNvPr>
            <p:cNvSpPr/>
            <p:nvPr/>
          </p:nvSpPr>
          <p:spPr bwMode="gray">
            <a:xfrm>
              <a:off x="0" y="876300"/>
              <a:ext cx="3650258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401518 w 2401518"/>
                <a:gd name="connsiteY0" fmla="*/ 0 h 257442"/>
                <a:gd name="connsiteX1" fmla="*/ 2085508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561819 w 2561819"/>
                <a:gd name="connsiteY0" fmla="*/ 0 h 257442"/>
                <a:gd name="connsiteX1" fmla="*/ 2346797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983410 w 2983410"/>
                <a:gd name="connsiteY0" fmla="*/ 0 h 257442"/>
                <a:gd name="connsiteX1" fmla="*/ 2675413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0 w 2983410"/>
                <a:gd name="connsiteY3" fmla="*/ 0 h 257442"/>
                <a:gd name="connsiteX0" fmla="*/ 3169357 w 3169357"/>
                <a:gd name="connsiteY0" fmla="*/ 0 h 257442"/>
                <a:gd name="connsiteX1" fmla="*/ 2928688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329658 w 3329658"/>
                <a:gd name="connsiteY0" fmla="*/ 0 h 257442"/>
                <a:gd name="connsiteX1" fmla="*/ 31146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8 w 3329658"/>
                <a:gd name="connsiteY0" fmla="*/ 0 h 257442"/>
                <a:gd name="connsiteX1" fmla="*/ 32749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497973 w 3497973"/>
                <a:gd name="connsiteY0" fmla="*/ 0 h 257442"/>
                <a:gd name="connsiteX1" fmla="*/ 3274937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2 w 3497972"/>
                <a:gd name="connsiteY0" fmla="*/ 0 h 257442"/>
                <a:gd name="connsiteX1" fmla="*/ 3443251 w 3497972"/>
                <a:gd name="connsiteY1" fmla="*/ 257442 h 257442"/>
                <a:gd name="connsiteX2" fmla="*/ 0 w 3497972"/>
                <a:gd name="connsiteY2" fmla="*/ 257442 h 257442"/>
                <a:gd name="connsiteX3" fmla="*/ 0 w 3497972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1 w 3497973"/>
                <a:gd name="connsiteY2" fmla="*/ 257442 h 257442"/>
                <a:gd name="connsiteX3" fmla="*/ 0 w 3497973"/>
                <a:gd name="connsiteY3" fmla="*/ 0 h 257442"/>
                <a:gd name="connsiteX0" fmla="*/ 2460831 w 3443252"/>
                <a:gd name="connsiteY0" fmla="*/ 0 h 257442"/>
                <a:gd name="connsiteX1" fmla="*/ 3443252 w 3443252"/>
                <a:gd name="connsiteY1" fmla="*/ 257442 h 257442"/>
                <a:gd name="connsiteX2" fmla="*/ 1 w 3443252"/>
                <a:gd name="connsiteY2" fmla="*/ 257442 h 257442"/>
                <a:gd name="connsiteX3" fmla="*/ 0 w 3443252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2 w 2460831"/>
                <a:gd name="connsiteY2" fmla="*/ 257442 h 257442"/>
                <a:gd name="connsiteX3" fmla="*/ 0 w 2460831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0 w 2460829"/>
                <a:gd name="connsiteY3" fmla="*/ 0 h 257442"/>
                <a:gd name="connsiteX0" fmla="*/ 2629145 w 2629145"/>
                <a:gd name="connsiteY0" fmla="*/ 0 h 257442"/>
                <a:gd name="connsiteX1" fmla="*/ 2406108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789445 w 2789445"/>
                <a:gd name="connsiteY0" fmla="*/ 0 h 257442"/>
                <a:gd name="connsiteX1" fmla="*/ 25744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3116907 w 3116907"/>
                <a:gd name="connsiteY0" fmla="*/ 0 h 257442"/>
                <a:gd name="connsiteX1" fmla="*/ 2734724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302855 w 3302855"/>
                <a:gd name="connsiteY0" fmla="*/ 0 h 257442"/>
                <a:gd name="connsiteX1" fmla="*/ 3062186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463156 w 3463156"/>
                <a:gd name="connsiteY0" fmla="*/ 0 h 257442"/>
                <a:gd name="connsiteX1" fmla="*/ 3248134 w 3463156"/>
                <a:gd name="connsiteY1" fmla="*/ 257442 h 257442"/>
                <a:gd name="connsiteX2" fmla="*/ 0 w 3463156"/>
                <a:gd name="connsiteY2" fmla="*/ 257442 h 257442"/>
                <a:gd name="connsiteX3" fmla="*/ 0 w 3463156"/>
                <a:gd name="connsiteY3" fmla="*/ 0 h 257442"/>
                <a:gd name="connsiteX0" fmla="*/ 3463156 w 3463156"/>
                <a:gd name="connsiteY0" fmla="*/ 0 h 257442"/>
                <a:gd name="connsiteX1" fmla="*/ 3408434 w 3463156"/>
                <a:gd name="connsiteY1" fmla="*/ 257442 h 257442"/>
                <a:gd name="connsiteX2" fmla="*/ 0 w 3463156"/>
                <a:gd name="connsiteY2" fmla="*/ 257442 h 257442"/>
                <a:gd name="connsiteX3" fmla="*/ 0 w 3463156"/>
                <a:gd name="connsiteY3" fmla="*/ 0 h 257442"/>
                <a:gd name="connsiteX0" fmla="*/ 3463157 w 3463157"/>
                <a:gd name="connsiteY0" fmla="*/ 0 h 257442"/>
                <a:gd name="connsiteX1" fmla="*/ 3408435 w 3463157"/>
                <a:gd name="connsiteY1" fmla="*/ 257442 h 257442"/>
                <a:gd name="connsiteX2" fmla="*/ 0 w 3463157"/>
                <a:gd name="connsiteY2" fmla="*/ 257442 h 257442"/>
                <a:gd name="connsiteX3" fmla="*/ 1 w 3463157"/>
                <a:gd name="connsiteY3" fmla="*/ 0 h 257442"/>
                <a:gd name="connsiteX0" fmla="*/ 3463157 w 3463157"/>
                <a:gd name="connsiteY0" fmla="*/ 0 h 257442"/>
                <a:gd name="connsiteX1" fmla="*/ 3408435 w 3463157"/>
                <a:gd name="connsiteY1" fmla="*/ 257442 h 257442"/>
                <a:gd name="connsiteX2" fmla="*/ 0 w 3463157"/>
                <a:gd name="connsiteY2" fmla="*/ 257442 h 257442"/>
                <a:gd name="connsiteX3" fmla="*/ 1 w 3463157"/>
                <a:gd name="connsiteY3" fmla="*/ 0 h 257442"/>
                <a:gd name="connsiteX0" fmla="*/ 3631471 w 3631471"/>
                <a:gd name="connsiteY0" fmla="*/ 0 h 257442"/>
                <a:gd name="connsiteX1" fmla="*/ 3408435 w 3631471"/>
                <a:gd name="connsiteY1" fmla="*/ 257442 h 257442"/>
                <a:gd name="connsiteX2" fmla="*/ 0 w 3631471"/>
                <a:gd name="connsiteY2" fmla="*/ 257442 h 257442"/>
                <a:gd name="connsiteX3" fmla="*/ 1 w 3631471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0 w 3631471"/>
                <a:gd name="connsiteY2" fmla="*/ 257442 h 257442"/>
                <a:gd name="connsiteX3" fmla="*/ 1 w 3631471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471171 w 3576750"/>
                <a:gd name="connsiteY0" fmla="*/ 0 h 257442"/>
                <a:gd name="connsiteX1" fmla="*/ 3576750 w 3576750"/>
                <a:gd name="connsiteY1" fmla="*/ 257442 h 257442"/>
                <a:gd name="connsiteX2" fmla="*/ 1 w 3576750"/>
                <a:gd name="connsiteY2" fmla="*/ 257442 h 257442"/>
                <a:gd name="connsiteX3" fmla="*/ 0 w 3576750"/>
                <a:gd name="connsiteY3" fmla="*/ 0 h 257442"/>
                <a:gd name="connsiteX0" fmla="*/ 3471171 w 3471171"/>
                <a:gd name="connsiteY0" fmla="*/ 0 h 257442"/>
                <a:gd name="connsiteX1" fmla="*/ 3416450 w 3471171"/>
                <a:gd name="connsiteY1" fmla="*/ 257442 h 257442"/>
                <a:gd name="connsiteX2" fmla="*/ 1 w 3471171"/>
                <a:gd name="connsiteY2" fmla="*/ 257442 h 257442"/>
                <a:gd name="connsiteX3" fmla="*/ 0 w 3471171"/>
                <a:gd name="connsiteY3" fmla="*/ 0 h 257442"/>
                <a:gd name="connsiteX0" fmla="*/ 3471171 w 3471171"/>
                <a:gd name="connsiteY0" fmla="*/ 0 h 257442"/>
                <a:gd name="connsiteX1" fmla="*/ 3416450 w 3471171"/>
                <a:gd name="connsiteY1" fmla="*/ 257442 h 257442"/>
                <a:gd name="connsiteX2" fmla="*/ 2 w 3471171"/>
                <a:gd name="connsiteY2" fmla="*/ 257442 h 257442"/>
                <a:gd name="connsiteX3" fmla="*/ 0 w 3471171"/>
                <a:gd name="connsiteY3" fmla="*/ 0 h 257442"/>
                <a:gd name="connsiteX0" fmla="*/ 3471169 w 3471169"/>
                <a:gd name="connsiteY0" fmla="*/ 0 h 257442"/>
                <a:gd name="connsiteX1" fmla="*/ 3416448 w 3471169"/>
                <a:gd name="connsiteY1" fmla="*/ 257442 h 257442"/>
                <a:gd name="connsiteX2" fmla="*/ 0 w 3471169"/>
                <a:gd name="connsiteY2" fmla="*/ 257442 h 257442"/>
                <a:gd name="connsiteX3" fmla="*/ 0 w 3471169"/>
                <a:gd name="connsiteY3" fmla="*/ 0 h 257442"/>
                <a:gd name="connsiteX0" fmla="*/ 3285222 w 3416448"/>
                <a:gd name="connsiteY0" fmla="*/ 0 h 257442"/>
                <a:gd name="connsiteX1" fmla="*/ 3416448 w 3416448"/>
                <a:gd name="connsiteY1" fmla="*/ 257442 h 257442"/>
                <a:gd name="connsiteX2" fmla="*/ 0 w 3416448"/>
                <a:gd name="connsiteY2" fmla="*/ 257442 h 257442"/>
                <a:gd name="connsiteX3" fmla="*/ 0 w 3416448"/>
                <a:gd name="connsiteY3" fmla="*/ 0 h 257442"/>
                <a:gd name="connsiteX0" fmla="*/ 3285222 w 3285222"/>
                <a:gd name="connsiteY0" fmla="*/ 0 h 257442"/>
                <a:gd name="connsiteX1" fmla="*/ 3230501 w 3285222"/>
                <a:gd name="connsiteY1" fmla="*/ 257442 h 257442"/>
                <a:gd name="connsiteX2" fmla="*/ 0 w 3285222"/>
                <a:gd name="connsiteY2" fmla="*/ 257442 h 257442"/>
                <a:gd name="connsiteX3" fmla="*/ 0 w 3285222"/>
                <a:gd name="connsiteY3" fmla="*/ 0 h 257442"/>
                <a:gd name="connsiteX0" fmla="*/ 3285222 w 3285222"/>
                <a:gd name="connsiteY0" fmla="*/ 0 h 257442"/>
                <a:gd name="connsiteX1" fmla="*/ 3230501 w 3285222"/>
                <a:gd name="connsiteY1" fmla="*/ 257442 h 257442"/>
                <a:gd name="connsiteX2" fmla="*/ 0 w 3285222"/>
                <a:gd name="connsiteY2" fmla="*/ 257442 h 257442"/>
                <a:gd name="connsiteX3" fmla="*/ 0 w 3285222"/>
                <a:gd name="connsiteY3" fmla="*/ 0 h 257442"/>
                <a:gd name="connsiteX0" fmla="*/ 3285222 w 3285222"/>
                <a:gd name="connsiteY0" fmla="*/ 0 h 257442"/>
                <a:gd name="connsiteX1" fmla="*/ 3230501 w 3285222"/>
                <a:gd name="connsiteY1" fmla="*/ 257442 h 257442"/>
                <a:gd name="connsiteX2" fmla="*/ 0 w 3285222"/>
                <a:gd name="connsiteY2" fmla="*/ 257442 h 257442"/>
                <a:gd name="connsiteX3" fmla="*/ 0 w 3285222"/>
                <a:gd name="connsiteY3" fmla="*/ 0 h 257442"/>
                <a:gd name="connsiteX0" fmla="*/ 3110046 w 3230501"/>
                <a:gd name="connsiteY0" fmla="*/ 0 h 257442"/>
                <a:gd name="connsiteX1" fmla="*/ 3230501 w 3230501"/>
                <a:gd name="connsiteY1" fmla="*/ 257442 h 257442"/>
                <a:gd name="connsiteX2" fmla="*/ 0 w 3230501"/>
                <a:gd name="connsiteY2" fmla="*/ 257442 h 257442"/>
                <a:gd name="connsiteX3" fmla="*/ 0 w 3230501"/>
                <a:gd name="connsiteY3" fmla="*/ 0 h 257442"/>
                <a:gd name="connsiteX0" fmla="*/ 3110046 w 3110046"/>
                <a:gd name="connsiteY0" fmla="*/ 0 h 257442"/>
                <a:gd name="connsiteX1" fmla="*/ 3055326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6 w 3110046"/>
                <a:gd name="connsiteY1" fmla="*/ 257442 h 257442"/>
                <a:gd name="connsiteX2" fmla="*/ 1 w 3110046"/>
                <a:gd name="connsiteY2" fmla="*/ 257442 h 257442"/>
                <a:gd name="connsiteX3" fmla="*/ 0 w 3110046"/>
                <a:gd name="connsiteY3" fmla="*/ 0 h 257442"/>
                <a:gd name="connsiteX0" fmla="*/ 3110045 w 3110045"/>
                <a:gd name="connsiteY0" fmla="*/ 0 h 257442"/>
                <a:gd name="connsiteX1" fmla="*/ 3055325 w 3110045"/>
                <a:gd name="connsiteY1" fmla="*/ 257442 h 257442"/>
                <a:gd name="connsiteX2" fmla="*/ 0 w 3110045"/>
                <a:gd name="connsiteY2" fmla="*/ 257442 h 257442"/>
                <a:gd name="connsiteX3" fmla="*/ 0 w 3110045"/>
                <a:gd name="connsiteY3" fmla="*/ 0 h 257442"/>
                <a:gd name="connsiteX0" fmla="*/ 2957761 w 3055325"/>
                <a:gd name="connsiteY0" fmla="*/ 0 h 257442"/>
                <a:gd name="connsiteX1" fmla="*/ 3055325 w 3055325"/>
                <a:gd name="connsiteY1" fmla="*/ 257442 h 257442"/>
                <a:gd name="connsiteX2" fmla="*/ 0 w 3055325"/>
                <a:gd name="connsiteY2" fmla="*/ 257442 h 257442"/>
                <a:gd name="connsiteX3" fmla="*/ 0 w 3055325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797461 w 2903040"/>
                <a:gd name="connsiteY0" fmla="*/ 0 h 257442"/>
                <a:gd name="connsiteX1" fmla="*/ 2903040 w 2903040"/>
                <a:gd name="connsiteY1" fmla="*/ 257442 h 257442"/>
                <a:gd name="connsiteX2" fmla="*/ 0 w 2903040"/>
                <a:gd name="connsiteY2" fmla="*/ 257442 h 257442"/>
                <a:gd name="connsiteX3" fmla="*/ 0 w 2903040"/>
                <a:gd name="connsiteY3" fmla="*/ 0 h 257442"/>
                <a:gd name="connsiteX0" fmla="*/ 2797461 w 2797461"/>
                <a:gd name="connsiteY0" fmla="*/ 0 h 257442"/>
                <a:gd name="connsiteX1" fmla="*/ 2742740 w 2797461"/>
                <a:gd name="connsiteY1" fmla="*/ 257442 h 257442"/>
                <a:gd name="connsiteX2" fmla="*/ 0 w 2797461"/>
                <a:gd name="connsiteY2" fmla="*/ 257442 h 257442"/>
                <a:gd name="connsiteX3" fmla="*/ 0 w 2797461"/>
                <a:gd name="connsiteY3" fmla="*/ 0 h 257442"/>
                <a:gd name="connsiteX0" fmla="*/ 2797461 w 2797461"/>
                <a:gd name="connsiteY0" fmla="*/ 0 h 257442"/>
                <a:gd name="connsiteX1" fmla="*/ 2742740 w 2797461"/>
                <a:gd name="connsiteY1" fmla="*/ 257442 h 257442"/>
                <a:gd name="connsiteX2" fmla="*/ 1 w 2797461"/>
                <a:gd name="connsiteY2" fmla="*/ 257442 h 257442"/>
                <a:gd name="connsiteX3" fmla="*/ 0 w 2797461"/>
                <a:gd name="connsiteY3" fmla="*/ 0 h 257442"/>
                <a:gd name="connsiteX0" fmla="*/ 2797460 w 2797460"/>
                <a:gd name="connsiteY0" fmla="*/ 0 h 257442"/>
                <a:gd name="connsiteX1" fmla="*/ 2742739 w 2797460"/>
                <a:gd name="connsiteY1" fmla="*/ 257442 h 257442"/>
                <a:gd name="connsiteX2" fmla="*/ 0 w 2797460"/>
                <a:gd name="connsiteY2" fmla="*/ 257442 h 257442"/>
                <a:gd name="connsiteX3" fmla="*/ 0 w 2797460"/>
                <a:gd name="connsiteY3" fmla="*/ 0 h 257442"/>
                <a:gd name="connsiteX0" fmla="*/ 2629144 w 2742739"/>
                <a:gd name="connsiteY0" fmla="*/ 0 h 257442"/>
                <a:gd name="connsiteX1" fmla="*/ 2742739 w 2742739"/>
                <a:gd name="connsiteY1" fmla="*/ 257442 h 257442"/>
                <a:gd name="connsiteX2" fmla="*/ 0 w 2742739"/>
                <a:gd name="connsiteY2" fmla="*/ 257442 h 257442"/>
                <a:gd name="connsiteX3" fmla="*/ 0 w 2742739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807079 w 2807079"/>
                <a:gd name="connsiteY0" fmla="*/ 0 h 257442"/>
                <a:gd name="connsiteX1" fmla="*/ 2574424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975393 w 2975393"/>
                <a:gd name="connsiteY0" fmla="*/ 0 h 257442"/>
                <a:gd name="connsiteX1" fmla="*/ 2752358 w 2975393"/>
                <a:gd name="connsiteY1" fmla="*/ 257442 h 257442"/>
                <a:gd name="connsiteX2" fmla="*/ 0 w 2975393"/>
                <a:gd name="connsiteY2" fmla="*/ 257442 h 257442"/>
                <a:gd name="connsiteX3" fmla="*/ 0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0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0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0 w 2975393"/>
                <a:gd name="connsiteY3" fmla="*/ 0 h 257442"/>
                <a:gd name="connsiteX0" fmla="*/ 3135694 w 3135694"/>
                <a:gd name="connsiteY0" fmla="*/ 0 h 257442"/>
                <a:gd name="connsiteX1" fmla="*/ 2920672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4 w 3135694"/>
                <a:gd name="connsiteY0" fmla="*/ 0 h 257442"/>
                <a:gd name="connsiteX1" fmla="*/ 3080972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1 w 3135695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1 w 3135695"/>
                <a:gd name="connsiteY3" fmla="*/ 0 h 257442"/>
                <a:gd name="connsiteX0" fmla="*/ 3304010 w 3304010"/>
                <a:gd name="connsiteY0" fmla="*/ 0 h 257442"/>
                <a:gd name="connsiteX1" fmla="*/ 3080973 w 3304010"/>
                <a:gd name="connsiteY1" fmla="*/ 257442 h 257442"/>
                <a:gd name="connsiteX2" fmla="*/ 0 w 3304010"/>
                <a:gd name="connsiteY2" fmla="*/ 257442 h 257442"/>
                <a:gd name="connsiteX3" fmla="*/ 1 w 3304010"/>
                <a:gd name="connsiteY3" fmla="*/ 0 h 257442"/>
                <a:gd name="connsiteX0" fmla="*/ 3304010 w 3304010"/>
                <a:gd name="connsiteY0" fmla="*/ 0 h 257442"/>
                <a:gd name="connsiteX1" fmla="*/ 3249288 w 3304010"/>
                <a:gd name="connsiteY1" fmla="*/ 257442 h 257442"/>
                <a:gd name="connsiteX2" fmla="*/ 0 w 3304010"/>
                <a:gd name="connsiteY2" fmla="*/ 257442 h 257442"/>
                <a:gd name="connsiteX3" fmla="*/ 1 w 3304010"/>
                <a:gd name="connsiteY3" fmla="*/ 0 h 257442"/>
                <a:gd name="connsiteX0" fmla="*/ 3304010 w 3304010"/>
                <a:gd name="connsiteY0" fmla="*/ 0 h 257442"/>
                <a:gd name="connsiteX1" fmla="*/ 3249288 w 3304010"/>
                <a:gd name="connsiteY1" fmla="*/ 257442 h 257442"/>
                <a:gd name="connsiteX2" fmla="*/ 0 w 3304010"/>
                <a:gd name="connsiteY2" fmla="*/ 257442 h 257442"/>
                <a:gd name="connsiteX3" fmla="*/ 1 w 3304010"/>
                <a:gd name="connsiteY3" fmla="*/ 0 h 257442"/>
                <a:gd name="connsiteX0" fmla="*/ 3304010 w 3304010"/>
                <a:gd name="connsiteY0" fmla="*/ 0 h 257442"/>
                <a:gd name="connsiteX1" fmla="*/ 3249288 w 3304010"/>
                <a:gd name="connsiteY1" fmla="*/ 257442 h 257442"/>
                <a:gd name="connsiteX2" fmla="*/ 0 w 3304010"/>
                <a:gd name="connsiteY2" fmla="*/ 257442 h 257442"/>
                <a:gd name="connsiteX3" fmla="*/ 0 w 3304010"/>
                <a:gd name="connsiteY3" fmla="*/ 0 h 257442"/>
                <a:gd name="connsiteX0" fmla="*/ 3489958 w 3489958"/>
                <a:gd name="connsiteY0" fmla="*/ 0 h 257442"/>
                <a:gd name="connsiteX1" fmla="*/ 3249288 w 3489958"/>
                <a:gd name="connsiteY1" fmla="*/ 257442 h 257442"/>
                <a:gd name="connsiteX2" fmla="*/ 0 w 3489958"/>
                <a:gd name="connsiteY2" fmla="*/ 257442 h 257442"/>
                <a:gd name="connsiteX3" fmla="*/ 0 w 3489958"/>
                <a:gd name="connsiteY3" fmla="*/ 0 h 257442"/>
                <a:gd name="connsiteX0" fmla="*/ 3489958 w 3489958"/>
                <a:gd name="connsiteY0" fmla="*/ 0 h 257442"/>
                <a:gd name="connsiteX1" fmla="*/ 3435237 w 3489958"/>
                <a:gd name="connsiteY1" fmla="*/ 257442 h 257442"/>
                <a:gd name="connsiteX2" fmla="*/ 0 w 3489958"/>
                <a:gd name="connsiteY2" fmla="*/ 257442 h 257442"/>
                <a:gd name="connsiteX3" fmla="*/ 0 w 3489958"/>
                <a:gd name="connsiteY3" fmla="*/ 0 h 257442"/>
                <a:gd name="connsiteX0" fmla="*/ 3489958 w 3489958"/>
                <a:gd name="connsiteY0" fmla="*/ 0 h 257442"/>
                <a:gd name="connsiteX1" fmla="*/ 3435237 w 3489958"/>
                <a:gd name="connsiteY1" fmla="*/ 257442 h 257442"/>
                <a:gd name="connsiteX2" fmla="*/ 0 w 3489958"/>
                <a:gd name="connsiteY2" fmla="*/ 257442 h 257442"/>
                <a:gd name="connsiteX3" fmla="*/ 0 w 3489958"/>
                <a:gd name="connsiteY3" fmla="*/ 0 h 257442"/>
                <a:gd name="connsiteX0" fmla="*/ 3489958 w 3489958"/>
                <a:gd name="connsiteY0" fmla="*/ 0 h 257442"/>
                <a:gd name="connsiteX1" fmla="*/ 3435237 w 3489958"/>
                <a:gd name="connsiteY1" fmla="*/ 257442 h 257442"/>
                <a:gd name="connsiteX2" fmla="*/ 0 w 3489958"/>
                <a:gd name="connsiteY2" fmla="*/ 257442 h 257442"/>
                <a:gd name="connsiteX3" fmla="*/ 0 w 3489958"/>
                <a:gd name="connsiteY3" fmla="*/ 0 h 257442"/>
                <a:gd name="connsiteX0" fmla="*/ 3650258 w 3650258"/>
                <a:gd name="connsiteY0" fmla="*/ 0 h 257442"/>
                <a:gd name="connsiteX1" fmla="*/ 34352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0258" h="257442">
                  <a:moveTo>
                    <a:pt x="3650258" y="0"/>
                  </a:moveTo>
                  <a:lnTo>
                    <a:pt x="359553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3" name="btfpRunningAgenda1LevelTextLeft887125">
              <a:extLst>
                <a:ext uri="{FF2B5EF4-FFF2-40B4-BE49-F238E27FC236}">
                  <a16:creationId xmlns:a16="http://schemas.microsoft.com/office/drawing/2014/main" id="{DBC79795-A08D-1F9D-8A7B-4564C860ED24}"/>
                </a:ext>
              </a:extLst>
            </p:cNvPr>
            <p:cNvSpPr txBox="1"/>
            <p:nvPr/>
          </p:nvSpPr>
          <p:spPr bwMode="gray">
            <a:xfrm>
              <a:off x="0" y="876300"/>
              <a:ext cx="35955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sentiment</a:t>
              </a:r>
            </a:p>
          </p:txBody>
        </p:sp>
      </p:grpSp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54B0EF12-6027-9ED0-08A9-FADE4038E55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" name="btfpColumnGapBlocker262141">
              <a:extLst>
                <a:ext uri="{FF2B5EF4-FFF2-40B4-BE49-F238E27FC236}">
                  <a16:creationId xmlns:a16="http://schemas.microsoft.com/office/drawing/2014/main" id="{35BEFC99-A646-FD9F-23EA-6369704405C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" name="btfpColumnGapBlocker753832">
              <a:extLst>
                <a:ext uri="{FF2B5EF4-FFF2-40B4-BE49-F238E27FC236}">
                  <a16:creationId xmlns:a16="http://schemas.microsoft.com/office/drawing/2014/main" id="{D1A2D69B-3667-CBB7-DA67-86C77F22BED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269354">
              <a:extLst>
                <a:ext uri="{FF2B5EF4-FFF2-40B4-BE49-F238E27FC236}">
                  <a16:creationId xmlns:a16="http://schemas.microsoft.com/office/drawing/2014/main" id="{23B863EF-0318-BF8E-64C2-7C82ACF89C4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791350">
              <a:extLst>
                <a:ext uri="{FF2B5EF4-FFF2-40B4-BE49-F238E27FC236}">
                  <a16:creationId xmlns:a16="http://schemas.microsoft.com/office/drawing/2014/main" id="{30A7164E-CEBC-8E78-E81A-F28D22D6B75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9A8A4A03-1B64-97D4-B3EF-342D0A78077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679817">
              <a:extLst>
                <a:ext uri="{FF2B5EF4-FFF2-40B4-BE49-F238E27FC236}">
                  <a16:creationId xmlns:a16="http://schemas.microsoft.com/office/drawing/2014/main" id="{9A8462F3-CDA3-07AF-2C43-4742E8ACE57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616400">
              <a:extLst>
                <a:ext uri="{FF2B5EF4-FFF2-40B4-BE49-F238E27FC236}">
                  <a16:creationId xmlns:a16="http://schemas.microsoft.com/office/drawing/2014/main" id="{314D228A-62C1-24EA-225C-F7E3EA2F2D5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96580">
              <a:extLst>
                <a:ext uri="{FF2B5EF4-FFF2-40B4-BE49-F238E27FC236}">
                  <a16:creationId xmlns:a16="http://schemas.microsoft.com/office/drawing/2014/main" id="{CAAB175D-6439-C5AD-4621-22CE087B8E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912268">
              <a:extLst>
                <a:ext uri="{FF2B5EF4-FFF2-40B4-BE49-F238E27FC236}">
                  <a16:creationId xmlns:a16="http://schemas.microsoft.com/office/drawing/2014/main" id="{C44CC2BA-6172-8598-DE7D-9A1E4922BD4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624410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740350649972884 columns_1_131740338247856450 6_1_131740338246954055 9_1_131740338247154583 12_1_131740338247345185 13_1_131740338247596111 19_1_131740350340356512 22_1_131740350520505784 26_1_131740351718073034 29_1_131740360203575201 </a:t>
            </a:r>
          </a:p>
        </p:txBody>
      </p:sp>
      <p:sp>
        <p:nvSpPr>
          <p:cNvPr id="26" name="btfpNotesBox304406"/>
          <p:cNvSpPr txBox="1"/>
          <p:nvPr>
            <p:custDataLst>
              <p:tags r:id="rId4"/>
            </p:custDataLst>
          </p:nvPr>
        </p:nvSpPr>
        <p:spPr bwMode="gray">
          <a:xfrm>
            <a:off x="330199" y="6322060"/>
            <a:ext cx="11531600" cy="24384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Net sentiment = % 4 &amp; 5 ratings minus % 1 &amp; 2 rating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Google Reviews</a:t>
            </a:r>
          </a:p>
        </p:txBody>
      </p:sp>
      <p:sp>
        <p:nvSpPr>
          <p:cNvPr id="7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2053" name="Title 2052">
            <a:extLst>
              <a:ext uri="{FF2B5EF4-FFF2-40B4-BE49-F238E27FC236}">
                <a16:creationId xmlns:a16="http://schemas.microsoft.com/office/drawing/2014/main" id="{D9695A72-7CE4-CFEB-C6BC-949206394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26836" cy="876687"/>
          </a:xfrm>
        </p:spPr>
        <p:txBody>
          <a:bodyPr vert="horz"/>
          <a:lstStyle/>
          <a:p>
            <a:r>
              <a:rPr lang="en-US" b="1"/>
              <a:t>Brand ratings: </a:t>
            </a:r>
            <a:r>
              <a:rPr lang="en-US"/>
              <a:t>Sphere mid of the pack on advocacy with a 3.8 avg. rating; Guardian leads with 4.9, followed by National-level brands</a:t>
            </a:r>
            <a:endParaRPr lang="en-US" b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654E536-34F8-E0B3-A34D-A9948201BAE6}"/>
              </a:ext>
            </a:extLst>
          </p:cNvPr>
          <p:cNvSpPr/>
          <p:nvPr/>
        </p:nvSpPr>
        <p:spPr bwMode="gray">
          <a:xfrm>
            <a:off x="3063629" y="5259485"/>
            <a:ext cx="2813540" cy="197106"/>
          </a:xfrm>
          <a:prstGeom prst="rect">
            <a:avLst/>
          </a:prstGeom>
          <a:solidFill>
            <a:srgbClr val="104C3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bg1"/>
                </a:solidFill>
              </a:rPr>
              <a:t>National F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63732D3-0E69-18CB-2480-DEA5CF9B53A4}"/>
              </a:ext>
            </a:extLst>
          </p:cNvPr>
          <p:cNvSpPr/>
          <p:nvPr/>
        </p:nvSpPr>
        <p:spPr bwMode="gray">
          <a:xfrm>
            <a:off x="1277050" y="5259485"/>
            <a:ext cx="1731873" cy="197106"/>
          </a:xfrm>
          <a:prstGeom prst="rect">
            <a:avLst/>
          </a:prstGeom>
          <a:solidFill>
            <a:srgbClr val="712C5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bg1"/>
                </a:solidFill>
              </a:rPr>
              <a:t>Regiona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F26F7F9-FF6D-B213-53E0-F34D5CF2E403}"/>
              </a:ext>
            </a:extLst>
          </p:cNvPr>
          <p:cNvSpPr/>
          <p:nvPr/>
        </p:nvSpPr>
        <p:spPr bwMode="gray">
          <a:xfrm>
            <a:off x="5931877" y="5259485"/>
            <a:ext cx="4657969" cy="197106"/>
          </a:xfrm>
          <a:prstGeom prst="rect">
            <a:avLst/>
          </a:prstGeom>
          <a:solidFill>
            <a:srgbClr val="712C5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bg1"/>
                </a:solidFill>
              </a:rPr>
              <a:t>Regional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EECC3AF3-4C6F-CB83-6456-30ED09C288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83263" y="4897629"/>
            <a:ext cx="790940" cy="311044"/>
          </a:xfrm>
          <a:prstGeom prst="rect">
            <a:avLst/>
          </a:prstGeom>
        </p:spPr>
      </p:pic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EoTWGHzRkBfzgVfT9XlGf9vLnEyzBsyZ9HHyajR5JbfctLS4CmOqfg6GeWWuZWcMQ0FNLjb1mebmpOb3QQcjuXFczmts8YpdZu4+yhEZHoWYUdIDivyIC3XLcFk0dYjmmtBFPHMTg4lU17DIhi7+zB5EJHV54k9I0f8QMU6Xoi9biHLa9OtZ349WniETxMcjwB4BklIkQ6SoqES7U/6CEzOx4F+EzqfS60X4aYB8I6dxyNNju12kfHluTkx/N2GSlYc2vLjpQ3ovkPY06v6i0pYd+UGu6Iuix1xdZ6ExiKFAWrlS4nxp24s5nHb7Bn9OfqNOW3xRYcOuHR+/WiXrny2tZA6IYmzcKudAsCyHzdqIc3pudH4KMeZQL6TpMclZnilcRGNC+F4b/nqXy5Cibb9E9+Jf9yytBtAhvRGIHJwKxyGsGewyhMNPes66SvrY3gHh34FEb/5yNWX15L0gj4r6FsE++GtqpHPZQjn1C50qwdXSuJiBnX2xJw7JJBuBQYFlQExXrN3tW0ox/pADl5lJJ0bTx1ZjyKOVPwFVRvfniDpM+3hOeMRTyhu2w7UOEGnqNqbcb9PxBL1n4LO4/aC6PfpLirBZS0yQV0HvGLPIB1n6hhYHCIYULp6bxk3xyeFApIUqVnViwhlD6r5vOP4NGqmownykt/Q2s6cKvoiAHFzBFVq5IRudbDHagbasCGrEqpsm5TL56v7aJIpoqyvM/eum9j7W/Zh/IoMPhbvtJyS4+fYE/9xoE2tuYPqaA2PM0WOd80laC1BNdc1o/K2VfhmXQnapldZF/vuIQepPwfY5oc3R7xypSUGny88eZyUPADDyjA0G+S+hgZRrpYvtc3LhufDgGjlR/xzs4010nGi08VO3IvGY8axJdtCK2PYgkFPNnbGQC6PKr4vk4+VzgPCjuQz+0iEJqB9ojId60qvO07cEiCSha6Yq7tVaG5J9/UZljxjR5lf1HCU5fUOAtm7FMopLN/trSXqXp4wbfNKpkYs2NUV8EcjU2I6rvI8QrJViVRc6pIbEs9GrbK9aSgvp2KWxOFbYb9ZQigFh7MzGbA8JAgBhvyvXUR9W71vTty7DvhmoR1qtEIFIMiUBIj2IHvrdWsFsJeXFcEq6pEwsvHh/7NUhlbpIWi9CsBa4hE9ETDKlTBbQ5VQ5dm0Fm7r4IJpPdCdFklDXge1Wi8pUU+/BWyot85b28OXsXjFNsEqfe819uTpZuLbEtQWD4m1BI7DdsvxaxynXZgOjsfk9LfkkIiULCKjMyRDBGJ/bPm0eRfDNBUpqHDf6/LoWoDz+AkGLjNixaYd1G/pAJbW6UyynmcBiWXLJO45Fri9t3IK/Wg3zAZLR6dipAJ2SPRHpOXLWlepcXFUx2vXXFkIFcwWJLwh4yfCPwsj2JYJ5bxrhQKcmsO6qDXOcSRv55BMdSRO3CrKaxfyaO9UbV/UvOzRW5w+PVLVoVcymjJWvOD9vXtlKZ4Ba41ShTk7z4aTIeplyuCvTMwT7aPngtI25trvnBVMfCCtofxBAmrAZMyycVo4oOrP+kYfwTc1WuDkHCvsanoth27Zl7Yiqbzr99wESJ8J7omyEfEz+ld9fd6mDlKGxF69f/cEgbdEkHR4tsaady23rn5pDeOqmo/bWt+FD+BJtjhzCSA3n4lYtmzSKVg/RGRM2UBTFXOmlF/nVw0m6HLlN3CapOSaN4Ms1cpxgpfcsAtwdL7RnzCZEMow/zx4Ue2PoNfj08Wyvj+imUB5pAPJjGQDfaDWplLUg+oi8vvJsbTC7cOYBBxL2hCw9iBnLVV6z6BQ/SCxjC2MycX0Hzd7f6f661dvGLYsymGYDwwY5vVz1IJoPtJQeDRbcuQeWEl11ps9Ol3XrXOXPr1q8AmfCJFdcLziyUZhkphhsUJiiwD9bvQ3SqnnCRiMpnBvHNcFY+lzczcvsFkEBMOnXmEB0LApMOeL5HmxvVzp21ry8ryda86JIHlTl1avnLIqmBj7IsyCqp4vUsFwmr45hwLH5TB+4kmw3N4mM/w91/mkmUI7eUi5bu2K3dijYOT/imh3h+OBiSq/bPChEgLLdesdbBM/+12Lm7dqH82Y4hdZVy/QnuqAZvU9ldpbucGF3jvvZQBmyJCJI0nnvPFdlbWWxvszVI7+CdqoKYRpkZYT936MP0Mlmax3RUVmCut2kIuX3i5RVjRcxk+EfFcwT6wZl3/vQJx8g7RyCNAVjF9asYJ1lr2yl9sc5JNwQQ+WZkfbXUtQN1hlJtDnGuiNIBaRSwgi5Kn/mOrBmB8xo/UCxqB4eYZYmJquvMAnFytFVuSTBmwEQnDt6DKrFNhp2RtpgC37OOd+gISdhRgU2o2m3vwMfzPBXPXXbFpd8chbFvqn3G9xLDBxV6G4xBvUlY92yivsLJxmrb8+eddmSsLUNL95UOCurBr+ntsyTDMYyEkvaKQGuSPgneg4Nz9e2hNM+9iSm9S5z4FNJAThHK7/t0CbLBQmu+4gusB5ISD6FyzH0L/++mulrV/z/9rsJyCUXwNAT7K/yboIYJSKV8R7dJMEAvuuWv+xeuc2v+/3O+xkxLcz8GzhL4nLrSyfMR23mQTQ/0aPBUaUeNhAERsGmpp2vlSn1Um5zKdQI+TmQZFvPkKvcJ4Z2krThB75q3L4+iUMRJLPzCmZQdOZJtMnCHBFu84gZGlO4JQF59HP/U0piL16W+8gEusO/ECxj+Dr+VnCxiRDc+Kb5Mcc2JG2a2SRwU30UpVfhzBgZb7Jk0YNAn/oPQf3cg0kgyN8i3oVxL/ZxfHZavDf/VGg04aMP2kpxxAf1eUuLybol5dQPeYFVhSffxKeEMT8CaYjvbCXcbsB3FCYf3Kqt++/3gG5fLDBPM757AFP+QwiDqPLZNMUG+2C84F0XS4S5K2KANN2vQpyQUgV59USqg5F6H9rbFnYVlm+dfB3XaoYbiGjNy+Spueqg/IrdqHDOkRCDzca7W6RyH21tBw54FKExtwlbg7cFmECeKca+q3C0gP4NElcZ4QfDhB/RYO/HrQ6lgQnbycJojNn6AXGXRXTyf+ZcSOS+psU1OjQWSOhBUcapBAMRmsWrNFrBl54ZlelvR1s+PBXs30KjaTTfQHPNazLhpcQFied8FLakb552VbTHMriWJB6vnX+BL+OsVkV3ANOwaWb+9nHEifdUB+qtfBthIuSl/W7KAL9fN30yFvl1Ox76MKj0kNePQ9HpJ7MPtPxXL5ohDkCz9X6vOeUOTZKLFelcB4Cl28Oxo1YTLS4RZ2cbAKIBk9Yo8ygtXCTx+ukJy8yidne15lMRgIws26wIZ8Ue1gYY2dw0baWlF4PWeP38tSgTX4Io3IjY+X5f+txDFh8nvkhi7S4WL4/HTsqmAqZbA1FKb6AsUO5rFYJYPh/wa4ak9Sbwq2tRqYuOdxYv0lBuyRABPt9lOCZcSNvEv3mJWaEJd80HtyVooQCUgpLdmPS6W3Z0Z3F9imjKyoWZw2p1Fll9lxyaK9Ruyvmv5KdJADaxNIlWaTOUQ0kzHwlOQDAIA7mQbg/ybdPzA54UXkdYuoE7q1B2SWZl+OmL3olT9NNjAm4IUM5RgwWoRHll2rmjThW/Eh5x3wSJLeBUZnZlSOyts/3lIgK5Ta4CmYnWDuF2PzSWFKyhyFVnqEiQwSX1l3CMUcFLW+DOFTYfhm1LqYaE7IpffFt8Wgu1NniHge7ZH0lVl973rp6kOEtl8TJYZvp+NNqocXqLxbp+7fdk/OcSbsEgZarLOp3mqX/TDXCfusDwt9gXrERJtC9UBi94lWpINnreZVzaY/uzOaiT2n2ykrAwQwyyoSrKW0BGcezH7nk+CYhQibWmqnHIos9da4xoXN60HhaRwrQI28iz4ZX8ak4PGt9AzvDeQw3p4ePgJ9FqYuiCRYo8u2YGcY0BLC0wi+4kqecUbVJbOUgorcia/y8Xm253OI/vcsm7igYqTA8G6Do1H47ua6+Ata3o/DmN8vzoG4yWOGg3FXxysRHPj3KOKLM0co886aau+Z6HZNnuhJI3OPfp0ud5vNCi7KkVwVB7VfyBhcdBOQquvR55/NpKMwVlfvBGB0P/hnOZsT8fqtujecpeVyof2evfAoM/Hs1tYRrMYB4UOY1S4roAliKjrEBZEZAuCLLepKz09tuPu+Cvdkvc13maf83EHyVn6uBzKUCfIz15hss1NU14fkScL+pbsYu64XhK49J5ELSoiVL/gnZVqwPjKYETUfisWaa/hDBBMNjH6HP8FJZsBhw2tqhb738JIZWGAKR+R4RJpNuVCStLYD3YCQs6EpYUZrKRSu7cfaMUfF1Vbf8dO/ogCdnXxo8gBc95IRXyejao/0gAGxOwAsVbM6DMm53h2jiq8nRrjDIbM38vkU/Nqzlf1yOz7eBtBwQeOsDaSi5gYCLo8XAiLf/E+EHRLAcV1n55WwoA5LMHnfBoU5Tnd9bSJZmcZwzAPYO/o6RpCQZtZs1s/2wMsGNIGEnPYW42Ub84Zeao6T/Y9H6AlifCIEJBR35gdndsFuB1JAEvmffXrARNj5cJobnCLIr+Qnh3qshcyrvE0ze/Sae5l8xf7I1DYT0TDyp7dgyNfYELtVbrvu8mQ5eu+/PvQp3rb/57N70X3QSwFU+RczBLqVrQO57w6HPkBdsLy0nff+azDLMg+RXVBAb9crOTEO+iFyJ6Wc9kvYbAbQEi1AGR0zPsdUsTqTXHNvQsLjtzggBJ046IGcyQJuGre1tHaSWVSeksqUd0GVPcgE7cIBRU6Z6oYYR7cB3lTRUgBCMBcd01PjGvHvjBaUxZyhOmoCpt8aUgYv60YtNhjdu0l5/vswqZrJTp5fEw3NHi9r0xEVlQBPD55yMC54Om8VwlYYjFAlVmLCJKCbTcQ8YNdvG8RpYOfg8GTzZ12cWOedby249i7CuqibCQkvbAxLgy0IxjzMUbkDYNCvamJck3MYTxjnu8kMHKqtyY4oer2RxEHH/9Rqs5apxsDQc7oFlUgc6Ss144AAFxw+eSlYSDyJa1IFN+fwysciwNd1RMSTD2A5O3ckaJ1SI+b33j+a6c4gbIFioN116g0Zz8jK07+ateX/mk8BERS9NKUNafKlPGrt1W+McmHq527ea1+brE3Gq/9ZVm+AQjv/ntoPLLqg2pIirp+svJRZHFMbXECvCsYvRm/QVgTrhRY3+qf22dMlacENIG346e9wQ/BW7XQcYs3TKFHTN6H9I9UpKLM3El17SwuZ9U0pTY2ueUugpBZylGWvCnWrGTmdU27Rxef1pblcD1gXeD1QOr+1uRLPgaEjCuSbdnR1rGiwxB7macwtyHwT+KRZaF9DyrffDZZtKHDuyLpca8zd24zcJ9sFqVga85PndMJJRjpFm4y6SUdUzct1asAVFMwN2Ol+LvZovdwfy1ipKVHQQ5gikt8SqHF5TyZfRvVLyOKj3kNLBt3AtlJ/QnwVqZFr5t1EE9BzzkzuqLe+LUP1tfWjGF+YSp8PB4UmEhJ15n79BN4EbQrtbo6lhrVRsrlSq/nqqG1bCkoWHfHH+lcjmc7qO1ep24PDDdkG4UNuSz64miGqtRa5qMg3ZswsN/aJVTYit9ocenibIpnKh6k+/9nQOBzsEyKblHU1AKGbwKzr0dAepEnvddfGMLsdjF7e29CiglwEPVLcfNr7Mj+Nqv6ZAu1ycNtpsQnTglziShOaOB2Vw8GiwFeVj1xyxmypZFNzvQaC68FrF3/z78lhwhpZtWDnx5sSDGLYin5Or6hTObs3mi/dr2M31e0rNE7cbGc+gBf5Yob0Yl7w2lGVKyVNNGxMIFl+M53T2ZkqTK1NcbfEBxajg4uuKRGbdDquec09PFrUDo8MislESNs7Hc+fVl14Y83yQFcBnyzRRpz+wnTN4b0NHKsOHx4mofxOh7l46v1Bt1vS1MprUSQpNI18WwU1hRFOkf5fQ7L3gZCL8Mw/9FJtNuwmMAApYi+yzvWp9wUMtwG6kL4Dew7Wfhc2sv89diSJFjGWFDW2Fke2oZu/Vrx66h9fMyGtAG8AZ3hmLQU0QGx0nPcFtErl/arKlaN9FkpK0aC58l9kUEYD9aD/LACYtr5d1IQy7eTBei905QmWhnjStxxybG97twLm9tfBWpdtz4Gsu0Pq6hc4ywMSEs3BAjmjqFMmLUkGMxC66vrFXu7O/+6Zn6qS/v6O/Yqv+W7taBKfxXuBn0otC/Ea11bXUBwdSoevcc8qwMXNWdByd5BE1Eu3ehdah8NerZBrusmV6fTZ2AiP3nWXvPdyWvIMfEJ1mTVsjwvCticZgH92VEGwwdaES22sBkTOKvIz+7XsuTlp/Hi067FBCpORp15SFLSv7ij/7j5yMASXANX49ASIT2CbhC+uz1kYGyWpTQxn1+u2DMYcVtz7rUVnZ9PJIQUjTSO/P76CrjkNtWpOfr0LMplz6q1sPAKW7Z82XYGgj/vWp4Y+ttOyX+F1HyHvVDoU8IRLT6n+vUfaHfletnqLNhRGxMOuqvvesx4b9tMvkB9bL+XpP5451OAcU4WAW05CxFSPvB3O86gIsM+R1rbZuTReMN4fxu5TecwVGJbXOdtDe9dxXzSjBCH8PJxwd5qKwgWQhKL38nJnGqTvKMzhLDFUNGVEljELu3pFHdD7n6sJIKIYbszryGa0IDVb+K0l4oH4kZ8ipC+Bpmp2HqRLApbjF4SRk0HE9iRV9DUiy6TbVYcpOpu9LAKnxplNBKLvX+MhVpzVvBWmIqt7Kc/zjtnHfI0q01biGl3oHrOFTqVELQuLeEN+YrnBSuFLWkUGmk1oH34omMA5K6koCTmkL8zyTD9ikBNTAuBywUUMppctzEJzY+JnZ/9QQhOAGNVmPlNogygen8hM0rphnOR3pBpbFTdHCbpjH9CniLxdpkrTy4l41mOXUj6nXxVPUzmuVkw3jcAd56UG7sHwuslNEERg9JjYUuyw+qDjdgwiWejSHTuU4iw8Mzt1mGJ1Ha8Lx8RZKdZ5vhtIiCCf2jSDpSubFSJFQCF8yaec+bmd5uo8hG2IDFya5IEjUudJqIaj4fifK7PPqsayJQMH3yTKrM1sOMX5zzLI0/dbXLZMxSHk8gNJYGWWGrc9jQQxsSQu9b3SXawEY2AFAaOglQcMRPMhL477PHlRK9xAUXeAQbBoPyARoHByejFObJVLhtz3mvn3k7P5UsXGR6jxG6rzDeTyYu73ek1DIRSL88h78hpVhUR2PMMJhz9lJyT16bIYT+ErbKyCBQPELrO7QFeM2LpElfPHsSYKSNPPsrNUXRZ0crW6qrCrBVppFpNjWC0aY7ZMdfOn4NBS/R+WjvzR31FjIPPBRh1PgJvraBkMSNqlrFHt8iv1Ls14iBzaO38RFLaDN5PGEYpNYvlbGXAY3aDFLyYbyzYDL63cMggahClqOtWcvHk1IYIn+H/iarvS13Y/8vlEofr0obUQXsMAFFWNkqzVduH8b263fd3qSzPOWffpBboW0wT75tDbNDl+NjrEcVpdy3CNAzsZhJp7mYpUooxNbH12KWJ6D7A/MLGbtyUDkEaQ4sLRk3lAx7CXcb0tgi8BncQT1J4Woyj1sCznesNkBguvX/WZ3EcltG71xUCbX9Z3qEBJs/E/LqjU0vnYWSvzSb+P1anb3aI8hamE7ezV8E0AUBhUmj/SpaJHEBPpN9riMrUtXVwo5783KpAYOQ0/qNjRyKkXlRejgacjAYX6EOYWaGjLWNnJkkjDWmm++Ekp+ZYBqtseCdfrrz1md9xGW3fokEznIaga+WpeKSriFx50E6yHB7/b+9U0uC3O8qtdjN4llRVKqLTHWqVKrgpOzeZJx/yig9lBW3BiiV/Nvs0JxBwhqKfhHPou1F5E6XYdgXoZKmlGqQC6GY7dPVt2ZQVEGWLHRv0YZN589JuxVcXDuZkY39NpjMu0KQkrSiFtHweiSR4TsGw087QxdtAEmkHCNTnbGC1QvYWIg1IDcuOnRjQzV5ezWxNCZ6P+du20h8FfTO0/jzuf1Gx6nZA9uHyzFV4xy2O5RhhhZSQNthwO/i6aSU+R+VAnTpwJpqKtbxfcyDEwvSm6Vq5FCv4ccSlGPdvCCTxSGo80fiv8D9Zz9oByLwapfeDwdyCUJzwIpTHlh7tjASzXBqqxea/1UEtR4495wufAnIi7CXtv1UbG49Fz+KvhSGSOo0HrsmGYr7QGymaZOuR30XROpIQye8bLfqeclb4daAPt6mXv83Bc7gQrtV1efTK464DoGTeg09mACxFMW3Ed2bSdFPxbzyeoNUB3pAdVzKWvpaGpYLzcKufFn++T++Wt5yM1bLBmaTfIMY6/HHGG8FBgZwrvZmJPMfnclp0SFXDfB7Mxt8GNkRVDz/+bfFU8P45AsrJiOSe8jbR4DSfTxDUUGERpfYN6E6uZvfZ3+Rv4lXRQp9M7TeEFrR+ELCskBzhVudijW5AroP4s/U1Pka6tAxyyZ2WnAPUhTZsrjQgMZYnBqCPgYhsZ7O9egG3w7p5WADHJw/L3oQ4ZgCWTwvDzUOB/r1xf3nOyMF8KpBfq1goiy3TRjirHwMtai7dmA/j7BLFPfpGFrWWoQC8u//3W4OduDPGO41rK5YXRzqQgLTdSE3uwbfiMcsgmpxxy7k4To9fr0dfTeT7fQ8v7MCaxoSlca5MoGjzX1cykTSJAVrWKYnkjKTOlexl370VjhCLulgwkMSNSKL3pAZFEaaMhX9b+j1b5L6aQ3y6YlePlvZQ0dAh7AM0Z78spsFxaMAjkmZ7tg4+yV+w8EsCqqTy/W+QwmuhYDp0KE9b+sx7Wd/h8aUFg2mt1wjv3qQgBhZYy7xq1ymPk6b+Wf2GDn3sPZHnBt4Wi2Wq/qJJ7x8XpyafmUuKen8dVr0b6BPywFpQV9w987s8dnStbMLb47C1rzXA6gNmfGDaFdKDtlpV52y2D/UusYGkr0ZxE1znFkRK69wmkL41hSC/73I3lZMRcORmmds4001FoArPVEUOlDYja9LK6poXmbxC7qbL+nvxW8g4EfJ0lrfIPEBLLEQyuq0udLVmADdMiXAxpV459Vs4cNa0LMyuSG3w0mMRbri2Q99ynkFQ2ckxwyLU8mga6LegmIOExar2W+PowiS61u9tS8TqoHrGLbU485L3OkBXtA2fv0+6R1Rxx2kMJ+PqDBEmGhMm+AmYx6dzev4HJqSD2l2z1Er/dEwsO1GW2EmNx6NwkAXwUHn1xCLURHTQuIajOfhOfE2vQ5Lg6QJnMVyceG7BxV4Ahg9mb1SKt95/vMQSDeGMggoYwPdRbGTwqwyWZtKxgY2Sdwl0DDAntKoj4sl3n3BJP8BMwWApagTLGltt8Zo+50EEK90iC/3SNxKYzyGVBbzOmlAfvbWO2hQ2YxThv9glFKk2N+K87CulITMwQneX9msYlJxqI0xHsqfSVcWLt3B1Emr5Val5ALgpYebxwO/uEcHJltd1AisLmOiGDeJVAyVQKrWeh+MA6K2zuojwrevwQHgHd3MVLevlgqARH4Zh3fSBLv20P8fy/Z6dIXzJzRfkY3pjfYeIH61MaWgmDK1GGkhIkb2xXighEEhP+oqB1eZI6BVkPPxHfivzm6yq8co6HkGIB9LiUaDbjCBL906CD8JLqG0eFIvMruk9/KirhlF+b4vO0rA4xeYzQ/gx/TPuiYs72qVsu3uaF99WHxFwxvz94Fr/44pqOvRdewnU/ijMB2Jvox/qtKoFpBmvOK0skPGuX3GJVJPnjBY15Vq9aqiyX1BghPm4sewLLkpIqayqVXB4EspSeD3Q5FA2lZNN1WSzzsB/gUsfYN+3yYvuI3clKEhmaRB/gD924ecRA+cJXQmgDL2TLtyMsLQcHjpYZEv5irOqXA/Te2EIXAJLugPYHi/5r3yLlIWnOmupRwHaQkiplet6O8myNaRRiHuWG0I/YXz2yMJOdnCbr0+WHug1LTkzJw2qOvMxEocVtSh5NjzFlv2IBBB7OMHKtmzMNraWHzaLJ5PdF0TTOVi+vJql0bvtsmZb1ekQbiSNE+CpTueKJJglxO8+nWvgC4mw0RQSG/+TMxPd/zeTF97D0EvcCqWVNq3wG08BueEgN/y0BqAH6JUAQgPzxdWHxrhbL7pmA1Hc207HG4NvwnZQv5ksX+U0fSOXAPwoic0EjgLcxG98IM2EGu7JW/rCJnrlZ1g2aoHmo0XreGodfwtGuN3tspgL3HvQR3czVjq4n2aEwhOpO8lzdCSu2ODM8+WB3WlwVckogSz8ECTRm2uPRzHJD8iQ8JzJu5TyvN900WU86PLHxLeXbIzzokSxvpFKvHZG/T7zfww4bdMDCpRpuXwKq/QRxSGsk54/DLTbhnxJaNqoIcd/V7kJtSkVQRLrE4B1XRCacpZhyOwMRKmReIjlXLwhz2TAZGpoZic428eFSJKDsKiSg86hdixjBZaUdoHPNBnbGS+oaGTaTXIwCeyYNWOqDZueZTsmuHpH9zKhVed6gJR9/ecro6IrWLEtf7qxHsbmMa5eP5JmXqvQh65uOlKzEE7eHmvNGDbvAAWrGW0/cV4xX098/vD04cDhcv5lMG9rl954+inK46PcLhKaHxZELsqwTjbyPcnYLG6ac4kdbFDxaToDlD4UyJ6SvR2Cv1cZNeb9k7i1euSsnPM6cGSWJgGkyP2PFYEvB6XIH/OmSHpB37ZshbMqSFOAJ9zj/uYKEv1V26fjZ3lnrkd9KkTwmku+tLFwuS+9m540ApaKCWyKBnV8bkt7vzvSXDIwNKskmSgKQAXW+h3n+VwKOKKTl/CnwYyXrXvTzm4WuDQP1m9QfgWCWLNra65dykHqCjIYpM4yK261Aq6g6hrN5rySr0agwAfqpiS/mkKB/53tHTxAXEnc7pReSS8uNs78DyKUjqHADFugcWkaE+L1m/7F95z0GA8oy9R+FxWBPj7munJZt1ESyMs/SPxmbWhtnqXP/jbNu9Cpau1o9IlZxZloALCmswjop3cqfXsVTWiw9N8O5evtRhabCzP/cAu5QXXCo1xv2JMiM3Q2RZdlfChuOMPLk7ipt8vMVIn4ewtvENfHj3lXohltJbWMlDCkHptYkVvsvO7IqkybOu9ml/yGGs7LHeiPC30UrlIhbIuV+qejehPlilr91Rs1nj4QXMTeiCDfamBcGnNOqkhm0uRTg9eMdtmQESe7M2zBqnUqv8+HeOrord3TCPc2Aottdur9dk8vuBO6giP+FoX92pbSnkhNU2Q1hcEhaX1RsZ4A36ojIGN9XW5m7Dj/5IGtbLZYxzqTnzjmOMORltD8vEqjG4TV4uOcTFfw59ZtYlO9Teh0EHV0cl4/mLx29Z/3uMfFpa5Eo0tQyCYOAL9WArKYTWBPTOial0plPYzOjJZqK2paMGwePa+8SL65MyUk8GxUKnpGbYDiqhnyBo6BRdZHRJSV4p+CoqqlWwGJXicTl7LrX3Pb6FA43p+SDn93AZnDbcn3jB4QnkxQKX0Vm5B8LGepYo1ITemMeesvQdt4PJwhEaWknh0o2cMIZ8IWfTX9V1ZyBRUh4JoiCCC41SOfwe8N1TfZIrl2ZpIQ2+axy19iZetDuqAHv1gTXXyOS8PecYAXf71XDiNIQOw5KJZXbF46Am6a4shHyTP9VvSXMrsrWfVSuUTEADez4PHcW5Ws+OVW0FNy1dOaEysnzwj2Em7RjGjrog2xJnt3wvG17mGZLI55FcP7kE5GMiVA7YJQSs5ctcFdIc4tOPLfOPszqUsScogwdP383Tota2x1m1veFjhuF1e26TtubN0j5BjfoLHY8TKzEv1D3koovaGa8ZVdgwkaANd3kvQXeH7gUWyuTMzfUrwdeEk9NpkDUmo53tvYDbhJUiH4z1Eyn7NgV3E0NoFjjq3TXJUMJKqJkHPKQAUiisrvB+IpckzcbMJA4Ii6u1rzhiom2uAbT8hOhCv/NuA+zNkO+73/yGM/ephGDG/Vh9t5QfB1DWQl0upyMrNk7XLY7hvXz6nmXrz4qSDsKrWny6u2ldjEoGJer7JlrXPbe4O6rv60SSPvtLjlEYkriK4wvYp8hhWzosXSuwCVXq2SXLN6d2wPhMakF2YG0t1yrtbcpYZT595NpoMRzGU5d9DpdA/+bshH5DI0e2xj6/fhIjPXe6uymsupnxFzCO7diZhA0oWFECe81vA62tvp0uaZpaKsSdmE1U97e71mG2cdorBSZ5t3REh8M3o2bYBpRfGRz65E1aNTLsNsFMlg9hCaLJ9PtvHpKk1uUPAKtwxYkeHBhSa7+hqnLK+MtzVlbCQKJbfZw+G3tDn/EfHIYjz7mnqHbKW0EeI5kikUcmBXYzR0vBTdZaYCOQGAXYaSpyI/xFNMDrYNrqAyB2V+TaXcDeKvGZHFEuhEOE089Ktyvay1J9VW5E6dqY/p94RGCO/YSvY6CGHdYiPs7R8dXifqaY9CyUSeZGEoaqyeB3WUuDY2jIbkBE6T5oAU+Imic3JQhywTCEymcOfY6BHLdayJw0RfdhVl7gA2N+WzL7WFcJP0gwYZ5ZAwG+jbKSFSSx2L689np2F+WzzFtygrIIBdf+j+GJI8iA95qkvxmwmq41dkRyotipNWrvx36X7FtJioXjdVEgCK9YtrbvOHQagwhCmwp3lFlfxDDKzOa1qV2MzRXiRglNXEV8DrIelYycMiEA0QL2yjR2PvkV1q600sBDm9rgXE7oAkqkb8F6cANnuXJ88Am5OMYakDZfgR3pXcs76/GEHaDUcJX+NyLqqRgQVUjDe3AYO5N0zN7KAM7e8c+rL1gOHnH1PWNkbMnNGTLQ42b2MH7dbOm0xxucXMgVrJZwkJwgNU9PyLppx57keKDhKyLFUtj/kSlXnn9fky5iCCOMObVrobd3WDXBZQlZrez/zCLiK4PpZ2d12kZ4gv4Yo8X7fo1R3JjaKpbo5x+1nA3TWa3Vb1DY1kr9fAse6B4wnmkjiY0hEeMdy7igj+uhzdrgeTTLG+9eTtQZcapGH7AZsYNUNcCwG2unZRo9TH/bTqqNizz0L4BKrBXv1UsktLmPQC7dwzT8b/x6U9KTJ4QzuhBeUdT2yIKUDvCfxqwFc9z7kLsfqtTi9GNu7KcHNOp0fqFD7ZZQ8hwZqHRhj6rsVhp7IAxKGa6WoxTwU8gFcKPpaSqh94PSCAy4EhGWdbSqkfsToe7kcZfulTfagtPjXetfA7qZQc+fPty1ar9PctceL7i4ljXwRGI5Py7CEj2Y/R7i8Odoy1XCRPvurEmAnd36jnERpp1bLuuglshiaj9oRB3MJDioOmCWFIFM+taOPy9m0ERplAJnXbKonOKQ+m21Yqy2EucRurB5cjWtrTmWsYzGRznl6VLABqwpE5jc3pZDnGJHQZGbikGniRbIInsuA2yWSGXpxwJ+aC6iO0beKPcmFrjCpmZZoz6k/9V0h0K4uvMrOCTt1U7v/kX4gOMgwAvmmeCizLk1ZaOv5iqbnpER7qjb64BUPChqMl+Eh1MzLbWF6GZLs8tO8o2VQnRLt5p5v/NHYruy7ZU5Uyi6JCIMK7ZX4K0tqY39UwowCojV71VmpGQ9TDBnvze5tjt1GtSgHce1vKsVgvQSPUMhPdvD0UloEHaW3aaUcTJNXLWp8NrYmF5GsFTq2pvh71iyYDin0Pezwaue9IIeBFy8iWNDyaFwRBiw5aBG06pJN0U0hHNSDkQWopKYxb84bWAwx+Jo4N4WEaTvtwVKOBLwC8wFP0UqYVl4/9LbI3PATAzxs9b3vcfC4EOnnt26Zz02vuZrK3NLIn3EXg4wCJ25vgHcajt8oeX06hFXMOOWn3hKXIK+tv8P/5O1PRmK6o8aFW9PwlCknxWUNk/AgO2vjQJzfU3mbqW0opc502lwXmXH4vYhKQdSoL86JpQ7Ql4Bs6J1/flBA9z685K+K4Xj6ElwryBW+T6jyOGO85xuLiVyC4Jf8pe0xXQ30SDgfxd+71ZrWussrWd+0vP2YDo463Pj+NyhgQ3lZLcp4KrKIx8YMNLcvDwOxrLtE3QDhC1cZG9sgVyRMwYmb1F5QPC9b3hsWSDlthRCRQ0NUix34xvb6BCTM1T/x2QAEg7XWdEtKHEUzyI7q1QrRkDolqqZ02kln8rxZVwSYP3y30PtqgmuebWqS0KIDXpOxmBEi6nCF8Sp6ZtDwVIuE1iVo7jdpZLGccLREvQOrH9nPdsbvgX+0ga90FFakKAvHJ2klPr0TXmCOqBz0g7Mj7hrNGJXu0j95wghk8FVp2Roy4ab4//0pHMlLrHgbCQCM7+LUZKSKQm1s1COXpFrDY13X6Ti5NTELs9Mc+FoN8DPpzsIClZfDuiZF9eUR69dCeAjRh7PXsDzuaIUsZ4bYfq79L3umVfWopYDWCG3zmoZDyk4ALzq8SquOyqjoNuYl0Ecd5V0KSoLs+vKGBpGohzgwi1qbUqCyw8n0j8OqGIqtQxR83XQ1LOY/pdqUUMvw0RNmUFuMGC8fniss8ChrqP5Q8gLYGWzIVQlXCoYjiMDK631giLpOoGX4iypYuXywti0K9vzVdZ3y7SSKRvZrkLU+IhCXUjTzmPagvn0GXDhVryatiKe5EbXVTSwb1HwMr2UG60KYNwXXvNAgkL49pxwTdy8dYEirJScqMM4dOIY3i/rURWm0DBzUyRxh1nfRD0z0zTyn4PpGEBfKAIWVAqAJ0xVa/Djs5CPJwgs4c+J0TBfsQ+hI7zroHmGNWcgoZhgNyBR5Pj7rHbGCS1KUR3KI2MFpioy8UcHZ66dRGonYwEOCCVtk48tfv/G0RjhV2dud2el7QIaXx77h9bOdNItY4EZCjjYFMMqJiXrRJjMDMdw3dVNlqcFCrtoqVpiKIEGAWO7chn6jjuRZ450SLmucENN+bzvKnFEXVFQ5O8UWUltvhUGn04+BthOu+H7fjXmudqN67UtYshb/N/mzdEUPX6+iC9/CXuLA316o1slY4h6VwiOFLNR48LFrj8fWY76/FWNNrucS5vepglZmTNFW6EPRgqwtLWdkq/7gmgXwyTwdMfZQGHvztfRi6TFBzogCDC2qOaVq+27UkGi419/7UEEzt08mZoV4SJn8Qn3WYZZN17ugScNkKJcuu9qhAIjWsc/us2H/f4+gzftS5E6Dn5Uyji2ST2Yew0IhkS1c7WuuzznGSrq6N9pbKdBPcDjZ0YtVCaKyhq1icnC1qdsS2x3RWc30OKnvPmkI7Nlq9QS9qyfOp9Wei9BrW/arF40qsTdBIjz+RQlxK2QbaeablCX0OPz4KC4Tl4K828CmWCrO5uBD1mfYsAbccQLHS+faUka15vi6ikAfqHPpYv1lIeaQAVxZcAa3wdl4470fES7tSZoljSVlIKzBhz+yjopci3GhidXT2G5SjDcDIJbfC5nVhiDfhNXe8zyCCquPcrRpuvhi0mfnoLuqboQuut5UVA8wCZ7t79NXLxI7QGf7lyfLwwEN4yUAoFUl6cW90gv8inF70CRQ8Z/iYquPgX6CUBdpCUIEpdzwxu3XNxb7LhKBEvQLvQtIQ5rrUkZOAgFuvhWNCMuyyPKQMlICrXMI2ud8UY6Ruik1Zv5d90gwxSzAJZK++MAc5Vy0rLSEY1P2fjQHCmBlJHVtVmMlJbWPfnHTv6gI/Ikbm2fHK6DnNlCX7iCOoAanzqCZBpF6koqjr6KA+Jv390ay8u0m9Uwp/zA7F3DT16CN68YnL23XC+jYX4EReuwNfhvfpsw/e8S77d/bAwcjB701sHSDyDeOiPQX07Ux9gq0eQ4EHr9+MLb+qTMryF/sapWLOYIJ8RDWOBz+SRh78OkAIeltBSniDrOUPRvxCGM53NqCCOmAWBPkAZ7m/Vbl/IEvk8U5WTzHwBBZOJwFGv4gXRW9nsKEWvrsQScr6s8fLYaVvF+RNFdfe1E3qqWfKQyryGjbopjw0CCy1BTMWq7kRYMOul4YGYi2qfTBBQTARtlOia0628KXp2raz3US+ENUQj9SRpfzc93bKpNZJC/2Zw84PIasSBzC/VNJ8gkgSLXGoTZxETTDgPNH8h1knSLtQxN3cr3fqouHuosrh3aY7xiC3VPRnCL4EDYeIvaFuo4h1gKSQNhFsWiKaskeoc7BWiRhOWsiY2iyz38TA7jkDo6vmHT5NEfYwcIpmM5rdH+0A02no6CEUrtGC6xNRbFCE/1hdTtFRWBCUCePZfjNy75GWpKyM5wzdPU6yfQsc1kzkQXakUTpJ98/sLGaPowWpmryQ/VtpQVzuM2LsePgq1+KI9mi8Sx0RGMmTMjydNKiK8YYOc4PfNuvB6xeF1vZ5D87RGqNc0bMiwTMt88GoUcRIdx9pB7t8XUHUMvWKVrUJoNtBZ/T1Na8bP95Y7iXd7oj1ie429QEyc9nSGz9SSmCvZA43XzE52e6lQ0gEo2SRLfS9vFyqrsH1ptsZGXYwrLGm9/SiDQ0i/uEoW7gzNmcxBE4ME3H2+XMNy6/CD3zCmXPNfNLbQJO6wZUZghc+JaHdsOUa6UhucdsIansfCAYtF1DsGaxq+j7RDdoV7/gBolNJ2yP+Cf5xzWG1Hq7qjOvB3VCiUwfDUe8ogHY97TOdlyP0p62z75H0K63UVdZJrn1if23iNj3IpJZJxRGzCYxtsVC3nTq/hsnxymQab4i7PPEY4uNB3ef6EtYD5W5RF0dSwh7uZGhaMSvhxKN1BOzfQEB6065a1vSpfQz4IZilvIG6rC6QXe346JJ6l/ymYAvNy9QTWgvC4HSJQaGCZ6XSZiNXaLvlCtdQVgp+MwirBnEWEx2EvdAbBZ/vrtYL1wf1iKQdB3KfjsfdsvAAxeZ80iNybsTgehh6CJl99hjOpRHzbj74YYx584gmTuXyhegJpWUFpAX88eKqzZ+ydB8+k8JtPerkpZRWrf2GppvR4XyO2s8mTdeZVMBd+s38TNw65nvt5IyLqIhtcjxLi5y0pXcU2EvEnMay7o7x0TMBgQkW5SnPzE30NdLpfd7B3VbVCGzlNUil8/XM9xIy/DvpR5QVvKobv/BAUGRDYKF/K6mAry0PPj9luZQ/uGOyvU5t7ELBH12WcwbkiLaCo0/DhHKHDJrkFYrPf+Sxpgjg+AGEdL54AHVOpJNvN8Samqc96yVyWgFJg14juplz/mVk//nYrW5aaRj2ZNDJ/Cp0ejd/SQ3JJCuLGdNTXBAcX80GjTGQv4sJzckVEWYlVbTRb1muqVNSvku0TfFzPBdhaW6G0i5KJQz4TpeG/6xZH3Yc19DLh2XAYkyuovhYuVz6z34v/jvMiwRE/d1Ab4XTXjlpro+s9n3Tq7oic2ipcs06ib8pRdXHB3Li49VF7NXI5zZCvpkEPdrOq4fUTLzfnNlU3LB5OKamk2kX4yLe2vigRXld0DsmM7zt2fEtXPNYZ1/v/XEtAFRZRV/I0WqI9eMFE44Q26w9apOQXkBUjrvyu+Jf3ZurdkkJ4GiKVe2Fy3OP3cZmLZ8UUec8VrNoxd0SD41ActISPwEQKN+4aiT8A87MoXu3R08ikrA3cMOrkl7i36qa9eFqzE8HeIBmFHk5A1uzcVIQwk5YG345TsgsjMleMDF3/VmpCECRMeB6gl+BnLr6wRjhxCC5o0X/reYx89IUgnPya1iw4MT++v2fU53C/RK99gIKb3f/qxemn18monIx33g/C2rqa3lxdDF5e75H1mq0e5G8Y3/9N19ta/YK2uMO3G3qkf/zGEnW9WSkEC26fSHhFy3bNcw+3R1GxhyN6ZlmtlTL8MV3i4je6TEnkj667ZPbSyGMzLK+/rnZvwP1AbWi12buWgYO3c1M9YtAj/dHids3x+J+kSzmE2m8vsn0EodAEnXzLcC+FJD6iykJgI3WE3uz4TYjO6AhbOT5Hc5nKshV0FPP4Ay/1Txb0GQ+elFQ8iYv233tAT13kxlKKoXXjUwcvcaSVOHgw6CqADktpvBQotV6bPBOH6sFn14HZiEkJeySZdxrv3lAGcBlhjSbrxQjLiuRLY8o4JtEZeti4GB7h53FMKmQUn+qe9my02BIS8UfpXyBdr00AjTjRztDwy3PKvOMwOGHR66izya3kpK0DjCiEzaAyA3hGHGawp464rLEVnrlkFE0fm/5FyYDMZ7XuqOLvtluyTm1mYCIie9RvDFBUsHtiY000wcPYCuiPmCNE8lNuhCV1HCJIYGRmZaVfaJzFiO8atf/OIiGC9XHj/kYaGC5wC03g3jdAiddyYMu7cIoNVwp787O9wAoX0sHKXmIKKhKLeL0Zs8bJsVXo7CbK+N4cxfLVr64k6mzSRSzgij014JJE504qUsLlIyS4EKRRWadbJ/oRSp3Py69PWBhqiPRbFyMLHsoI2etEtVmZrXV8Qbx2FOSGqMkxJDzAOyXA04rhip5eYjJOOVn9gCsccaTt1lVSpSdKlUT7XKVLS60obefDWH/7OKKfr5+krO6Wz3MGdot1K712jLMooQwGZTWzsnOYDq+qUmrlNq6ry1KWbaiCUjLcDzII2//MdwzHpT4HhN2Jpa5BNsgC9jN7wuKSgYDvrQV+aDDLhUJfogSynZKojZgyZ65LmEitc2s0zRGdYqamZpes1LEjWEhj1A5wBp7/70fn4G1ygDa80eEk6943iX+LbFEmBUErkkmi4mOOxXX2/PwU6OVIlvMe/oSNG911mkwowmtTkHZv8s8nhpiF+yzbi6XQzRc4908RE5XVUjzZaxEhUFEkfvrnAT6AhLegJ9BvvRXrjjqe6iKDc7LlMUXETFKQT7Fl6hbEklgxKYQyvu8sbi8KqFSc7GYCZozT2MmIyc9xtLLfClGKKWIlfwOnp1Ks6gA4WXKiPMJqSXp/Yhzsiox2PhHRSJ5E/GapzhLmtWvXmHAcz0M6uogEbgbNDvG+pqpOv9ctAZ1aiT44qLnSAkDBZ5NqmWR6JaJo5U5kmiVSgnuzYJwnsDMa2o/bJtBIk/Lo1JSgflkBjKhAXWXQf7fELHaDyZalQDbv5dt3SnzBPAHyC3mwFv5BKc+CFA7uIuwj9qGRxgIfmL5csipz1TeuQ8P2cnHAmBbS2eQS/B/nRIf+ps2HB/ELu4Z5McU9F6fvpLhf7mPEk20B7j2beorGWPiPf3FNTmPgR+vOcPbaz7aqhfwcqzytw/pMj1vfJYUL5fzqiiS3dz2KskFZya8OAQ/wbc0kSj/ymBNiQ/TSL0Nb+sdOLzdp3wJphMrxxvRWErBg14E4YEo3cg+cNhcOl3pYJPoTUj3wK9CzA2gI94/NRtNB55KboSC2qYQJyu+zKu+al+n6J51SUxKHpxLpep1X5PG5q0SblHXdRrS5H3p7z+sOQUXN7Ctgoqfpb8KxvXcVY5xQVAs2/khRgXfF3+MF/Ygq4dqprFw6NsLUTrlbCmGcTX9A4A5c1QeKYRP9XFQLYFamOoz/P3t0wSd0Lxtrj57qzsO0wgG2yQhV6ZxdN6OfZFuIsig18Sb4NoRPWe4W+OAPHXv3y2iQsuzvsLsd/cGKzOd586fDpTXFFiRPoGr5M3gu7dAsKK9UGp6xNcR703eO4S6RSeV/NpuNTANB8kLw2+NwpNht/wswizYPKqY08nAOkdrQN6XX+UenQk6BF1cjlgoRqlPd4+peYaEc9oGcWGibECO1mJ0fCpDp7hGSssjZNwRQigU6r58dTtNwxvMxxkvLeHivsau8/dw8EE4ntBkTIGUrB/oDjCvBX2UkZlIVYlRfO/s2PTNNtbjQUTqfrsuYKsrkd0sWyXvIrwPoHdRBh32AGQN1NJtoYacQGqzsNQxyR80EUC2clZrqoZtAuS3o03l2rkywAqDCE/EHC/Ph5+sm/fcSTfjuTQqljNYxkAHs5vWR97P5F0PB4QDRIf8QXk9PmgtYYhAnXLmNhBLzRhn75STkzxfBuR+tlxyLV907h5d8m3oK/vocJ7lX9zUnReh/mc9WDixZ0GTbBibs39dYDrsvjfQxdeE9Q0NMIcgSSk3QHSGQMeRP3EqL5L1g8XePi0g32MiNIQQbUVzopycqjtoHnuY/7SltsOmfb+aXhsOwIeriaE9hYNpmVn0YwgpYn0UUiYKKuOAQnjUyI1oSsHYCPHlJLh8dbdctithS9ekOHkGcLc88e/YJ4lqnQgnvZRK0mK8ln5pfnW43ZtZrrWTO18h+yrgNepE0J9a1s3QaGTU9x7pUk/SANJyOmdZMrGeUN80JGdIaaiOqsnLf795N0O7j0+ScFMqt0YvaOyqoiBlCteTvN7PtQpS1cfghkTJnDjVH49VBpR5VAV7JlcWDWebcBWRZMjq02cO5Pt19gd0fbsccI5ajMFWpKR0COVUDbEueapvXJMywSuZrqsPAvnmzo8gDA5C+KdN+K9P1SeZ7hn4XBtcQGxhjmoPeuaNYKdOR7FpfmaK5LMHfeZViH33+PN6N+ta1MqV6Kau124EAR0Kt23c5u0CgVHQEDEX4Rn2qAfhjeYRiJDkcXsITpxFZRrFZn3bf43bhwHNNvbBY8sqIVk0B6DDD5kmxkIQqHdC7xyw676lWqF3CbXVgd2SPKToj/fQoKj83D0Y6yu8eaWyavupADUUnuYhu9CaqvigSrKrJJ2MmT3tyQHK8PgWZVRnoEqtJ7qGPRlGyiwkjXWm4ue2owWHv25w3phPZHaP9TD+yu7acuqodLZXAeO7p5LcOb+K4fsyEZUYIvaNFjCtBDZS+ZtLeAovodOw25DEsuILoutumQoTSO1uG4xcQzfuqyAB3BC4e1OGOH/5hmWx285Ksku5DCY07weo9tXQSYmphKg2qmjJr7LDlih3c9tt1u5AcL1Ff086yR5PV9iCjvaXc8DizM9Xs1v8ClvR0Zl8E+EBS7hJi7TcO3Qsfao/Zwd3U7yGshZXycwmsbUc9dI1JZlU5lxzN+0iZhf1152wwNMHjiKmZcomXv9MW8Pn1hHuav9MLMyeV6G7pFuSd2rvvlUJhYVVqZfl+PR4MlBUqGL5R5wVT/1EVoG2GgE1ekbNVPcZZRxmI0+KLtLmPp3xSvS6Dugsvz0kR/ZpidZMEJ1CkQENFJ9m300Ypg2UOD2ZvKhA125C7qdLDYSiKW/NcY6GdqUP5U07Q+VKJz8aMtZPN+rn3+2e4I26YwTeGZHgAh7oHWU1agXsisF+nqyQ9QEobRgQLbKuHctw2bTuBsFHp8o/mM1GCGu0hocaok7MKnAmIGh5h9fIb717yNC9RxaqsrdzNvcwz1Lm6hLhUiO9hDCELwnJSj4HL0wwcTZ198EB5n6DG5cnhfE2RaD9iUqbejj7v68fpyuenEOcQBo3BWvIUER26HmegG6Wwg/9QDO2vIS3/p7DjSDcDbwJlBLOiT/FC/NTRKmcE8pHidiZ9IXwkx98lJsHvK9PetYml8ptk3Mdsp2uBYKuVPxYsEjzzDemuG2Qw9tBP3lpBj6uurAajvVliVcny1cWxRmRdpvMsRnZ3u0K8ZulUKxhygLauNgj44CTAdslwg+d7DDKd3gv2ALMudZUK3i4sgbO7SfwRFG7kl/Y6TEpytx7rLnpdXvIHEg4ljpLjJ7AYDCDkm7CwNhwqFSoQZo+EbfNXgzv0c6jDUY+OrV5VESYlIqUQwCsITFlio5ayAEWxxqTiP0J3l/4326uYFlundjVyGZ7l+v2fDJd88u4+F3QoawMAgCoHXU7meXZf/Ke0B6CEKfIgXL5qGdd4woBAKZ55WsWpjjmTTDkfHdaJLmBXaKQaBvhKubdvpVF5Ek419//geUrDNgg8si1Vbe+Yg9HlvczjxDN0lwZUoSj46STctQvq/4pEwu6B37bxQGscOAu07ktmkinwlLebq5E+R5Uuvo5UeS4GMK/pPLVC7Zg+K4qCqtpmpaR6AROOWRBc2KbPInqj6Zh09KcbBea29kx90XrWjWBap7/PW5UB88HAWeV72FY6lOLQhb8OrHlLn46psrficbOSTGRDcIYXruCg58h2SPLpqhfQRavqTBZ+5AigQivl2KikoLE/9vnMi/4hZc6B14aiDxKSoKxpPV9m1gCFq/w+5BB4s6oSgxLAxGfXHbVLxgmRZfTGC1ULKXJ/m5Qni/l0Vgmhqyv35TGS/0+K4ThbtCSHrAG8XtvrNcQujQ9ROR1OfDnPe1lD52d27mpP7CQHMOG86ig9ugwiGJ3IpLWNPecQowqfsmw61cIzgsbcyh+doE67BUGhRnYvIl/683nP3i4Bu/hbduTL0sAOuo4eKej9+7Xrilbrkj6TktKVtoD8Q0FPvl8ksI2Vd3h4JOQBV0vrsOiIOG9jrl/aojiokHcbCYDxOJaVCVnk3lRubHZhRcqxvFCg1y8KQwc39Jff7wR6fyXTQ2JasxeWL0NASBExB3OL6+BZEByVmw2M/5AdrFvmZ9oNWa3OCnEptZ+a95Akak1GBb58JxugPxEbn2SUrUnIesJCaq8TeABoxON6TiYd5r5wyH9l6JGrMk2rJZm//m+GiYXQSAD2LmOaduJJm+D5R4Ka0zTtaJ1wb0U326LxkXJYtS/khjwKeji/GquYc8zE8i9XJKiXi8c62FS6GEIuzd38sbkWbqgpcQGqszbR3QkAy+BzMErnp69pCi+pSTmMIUDrKLOLvOfIsQPBrchDmVMAYA+F7qcNsAw2plykey/JJ22438iFhlpFtCgwO/atWVgN1LDfHMHlKi3wztL3JFXhy3JN5jcOv5sM1rxYihkYyL1vARY962aER9uejaFUEJ+F/eJnEXVkfQpUtK/wpsQcOdCP6Ce/tfBZfgLhXrolBOJEej17uQh4ATntlZB9DNjqyBDzlftyjVOXROokjDyWYJLpKVKfyiKjffoaMwjbNUbOWzevCfNC0BN5IJIp0yDERt06Cmpwk0j4QF5RAZn8kUQqVJMClufqC2h/WDk8ATkDROIrxawNdbGl/ioXzrjCdn43qW9f86TmuzL2a1JCA/TcAIFO4Oe7b2tbWByrKaElFJaAtL6te6wlIcY68g5cccdnCaeh6lkmKRUnaa+lmj+pb3XbMTTrgF/uCTxriUI3lgFXe26Bd/oqTnrfLXgkeM6C+FdroWEqRrfi59JBO/fkyB8kEUM5QtNiDxgNWo4VtPHgTOYgFg9xSaX+f415O6Lc1u03ZnWd5S7GTkF+AoQA+TDnsKE1GSwsTk+9iA6NcMiwBtIkXf3lf5sRn2NA+8YdQ4+KY1gjpLFKA5T4AjP/usKLtw45QB4R0rQ+iGn4O/Up/WpQxK9oZRcMud+TbnRVKe1jESIALN5RIDmJQq3/r4pgq219HGddOCH/KPmCnRz/xVTSfCtaofFQftHc+3ruf/Eut0fb0EJq6m2RXrBCrCnT6xnBirA3ElPBxarQCZLwLK24o/fzkcx4hqqT2m9qhvx9pz+N/QvXqLdspAXSbf2xybmFVVMcT02EZXVfVDCGuPAzjjGC0BUYe3VAx9nWTP4mB4P8bw8jPL9ijzwX7I5DBa8IdIJMD4pdDUltiGz5zNmpnKsqu0ZUKQG8n7B/B4aV0xpJJaFUB+6/vvra45yWfD9BVa9qUOZ1uwrM8v1wyDYLMF8uatLPnrYTLnJRbx6/hMGaT1WdX8d2k8QfN6PSfw8JeXMCLV74xT2Ff+wwF8QwTgaLT3Sesd4YEMd3yLowN1gzhUFjrQcr4Qwa5pCgzZB9TY9Xifd23qZIvQqPdDgKx3iT2gzqTLMvmzttRU7H30LACWE79LlTprbCGigBtG9yEmCWBOexfNcPH03y0Thtb/claESTRUjhJj9vDQZQYV2IDKLe1tKcji34xEuTCtOdktlOoXVB39GwcNwmW+pFS/8yMldaRs36luav2dR50HvPI9r531LVa0AObbYIgCtCOGBqL4YKdK2EkuWYynOZD6UD/LLhroH4RriCgpJKuSCVcs5ISeSGAlPFA90FAywd3iCx4aRnxlZWaz/7zhJBB+H33YarLvJzvTOeJT7l37bSX/awN4OwvyPznnrRqtJqat0tj5EA1SUWBAcxFjkUWlqzNqsLupcsboNvxsH/bj5KJnUfgJx6F7lO2FOMQEiLygubXjek4VwGZvthylEiX/WeeE5cDKGB/cy1Bm95hFCw5H+2vS/Ja/FhBXepWPMJvxJd6NXzThapzKmYTKcZVBVNcYm2pzAoTi+JF99N6YVjPAIbIGuohhS9oATI6olCcsZBKQ7xBQ/EPibXnKDLN0Eo8uktDvLI9TPDpg9jtW1S134m95VajxbHNVyF1szDgIkurAgOHP10mn48XTDFCHBAoiOHAxCbrqGBA0n6Wt4MHMEg47mzNTPV+yxGgcZy7AtAO7d1783JnyWpy1Ak2rT8wwChHuVmGztZiH9K/+pPZQFNPV4cQtUITu4aTRcnDXReIN4H9HPIRGtG7LwLrtoT2KImWAhqXLcvRb8xZyrz9nn4zZq69tbE94EZkeP1FpKk/DzZHfk7vRmKvNwMEBcSoCFFci5250oLUJiDrcbqotc6t4bUcqHjEK1cj/fzOcA3ZN4dzYLSKWXCkHYdhOqLSU5we01J77m4hZ0KCr0h1w++pcM+jD07XvEI0ELoyqkuBBRbubPRlhVzfGCK4zFId6RFmN9PK6UI0kza7loHbP3uBue2+HgFPp50HCHyH96TRVXT1W8UXFFnkINKiKc/BkGGWYPSJXkJYGCfm/Rotjsi2SlLGvBi1KBdSdVQ1lECgxCVQqFtU6ZvhC6hdKFxxZX/k4CohfoVV94bG55yMwA+KlWuI7jUqi0BNK6FvTLes7cs8aOoimn0q8+WaTi7Qc4ZmIwVGFO7LkVEI45OXKVHJJHyX/RFiKm6rnKQqptgesmLktSTO41XhURFwc4c971eozhg7GYmPIphy0KJjAqrMtaGLsghrmlICFenDOXQnicHYqjthdec1mwZIWQG9RGcZudp7TJ+fBXMAOOJYRlp4b0ViCaE2R5IGC0cmvVwD9PhDhIwxwicKTPVe9e4lMmqpoTobV6jXo5Nqx0AOFyty3B7IMeWFKpnP3eYLDhwguo86HdVBSZYe1Wik5PiDrERn9X2q06ij+bL5nO2YT2nXOS9dYGpwX7+N3keURfnD76xOre5cMw03cfLKZ7NDa1sy6SaZrSLVS83SHw42czbiHQyqZQ54ITbIry2cLadP9PtjPs72kv8quNLNp6LaNzaVMJpwUSocikdfDyWLn0OcPgebHv5DDrJZf/gCeoh2soapbjTJVLTkcyNDL9S7LAAHIfeN3RsSJAI17ddVRSMIkzqxeVPN4f+ilfVg4BQ+isRUidXZQywK1a4/4HZbodXqOOei0uYTMoITKOst5ibZ+o1CH4nMDduiicX/B58d6uXoeaAGvShXTEm/xRpPuca7YWk2X+O14Sfb9ONVw4YTnX7jRPSe5EQ/SV38N55PyuLxMFBR34XdcnsOp4x8smUWggTt6Ee69QVLvpjxd/QOCCHnqPSHsXwNR7O5gTBwfWCB6j2kKjR3fjIBGJc0AbVHWYkGmiecMoOdVj/rsZSAj7824YCLTKwLpBI8ad0+KxtwxcC3dR1dhefGPiHsTsNc06TbayGEDNov9b6D02aZbFS1Hllq1K7L00qEW7CdLqFBkKs2Sko0Bve8cxTHN/UegnNHuZbqmhVyi9v1M9SeI7nNYIUledctBb462lZ+NV3AIb8ZrdhWTbflqEBseCITAI41bjMzs8YZZsGRUG50KiN0Phn0rgP+RzUnWGUqTxtuHCc3PSKiUnarmd/AGjptmQTkapS+Hl8rX1kkXr7+Iwlyc+BmTwtHM6gZrk88gCsCHgEE7AAbh2/u/mJEiAvp/4ETbdn7sMe/dT1jOcDi3+R9DgFnVqo8N6xFs8LKV0AvByZ29PtvPpZO82I/Cq8n3oxi7M0rLTBpzmBeOscxgS0WvioV9MGuS0L4puyxXS2RemwqDflfv/PQ+QjvzofVBrLy5+q8U2JBfuMxYojz0dqbOnSScsHOm/SANKk2DBvzXxvG6igMxT4NI8DQvqNZTVxIWL4HJHKe0Nd518DY2FiILIgI11RafonCc22YMEtt9vd3/UzPi9yig7b4poQcL5waGZILQ4gb3IUnvhdSoWigt3xpTwupx9gw5nStj/5NvGtCwHLoUpB7WW0+6NJu7IJkttAfuzCCRjkOEtsfZtxXrf1jjAQIZjFK+GKXuRGRL+nTw8O2RLIhQLbBXh6GaLPx71kPPHT7eZEIRO+qSweQcmjiyxF4z+j37u1AjgqB9hhZu1o8gPkIxs83bZzrLJ65/uHhA+d2vHtcPK4Ebl6Ln2ie/Ntipsbl9gVIMcrqI2xF8QtI08zaw+ahIOXu9jBJUIMRZ+2i4pnlyWAQhwQWGIV/jeDTuhEML7KasWDVbQUm3xr6XqaI6Yd/KGwPLRaygKCkwVZcv6EOZGUliRIZTJnvJAFZ97dAMPBPrGlb+khZ8Z84jPKKxWAmQqNt/om1pVaWCjLgrMwQcv6DN0cAHdkuTEQLOmcCfGeNBz8D6Jb1WnzS3C/GB7Bs2Xrb64Ub/W/LoTMsmRGytb83VdzUQNBsCUf2UeeHyjTgOG5hnOIUzIM6aUq7pnSdw6jnlmYrABm7xW2nCkd96V4LCwyN0VyO0+peQIUVe895WTXkH6ZrsjsR6DQ6nmsTiKEKUOdFV5XbBVIRlctzN/OHbiok9+tUXWCF+HEo+2RxpZ6RhmbS2zg3a+/oth/hdJ3wFQvWlsz+McAG4rMM0ZXcrNq5RgyHYlbp64XsN9zOupOFy5vGy3iPo9aUdWChkHNagLHvJIF5OWf/OTnk18ExRytVMS6IY1E0fQBvP7R9bB3UNrKsw+r/hfcDVakwNYha29pZBHUmmuWZW5qccrMarwWI8drxij0nuzNaFUZXNmIe8+i2hU6cGe5pOyNxoCeN0KhzG7p5h1l65Ov46DBnRL9XvOpoXb5L0d29JK9VLQdCnVI0og7Tmlp8AmMFVrI6MwRHX9l+vq0hViVbHO53HLCCxrq4MsCsakiG9QYV7ctSMVAQXcwttzUfpPaxBEUmsjeKlMk+9IEHglaBV1KsGuJVFZnb7CA/vrFMstmNS6liRLHcXsmYc0aD7RjdLesYqRGrwTDWVCjDCTFj36tqA7IMwrtpqffLJyZPKTSlqLwQpgGmOoZqX+wnS5YwhRbm2qHv10UPHdDeOq3Mdd5yQRzdrIh+qFb7NaSkwBhzGEELett4o7RZcLuBTmTRvvgLv7LSavUxSGvhitxy3h1+/OQ42BIlzcnc+DrnmvysfNM5X/FpzPgL7cplWegUkPLGP1ssCZ7EwfpNVZuQMFKulotKp+NJTBMfhnHaOdQyi8MLBjI7GAqtf9iAju5yvC4CwGLKh6+5gEV3iWmUR3+FD1TqzOlKNBAcShtAswOtzIM4neMKvJrUQEa0fMvS3/QEM/Ks2HuJhNiPxx67YoFl2NvPiMRddH0ujwB3Tbmy5tvpKpojGz46h7/UdWFERRPJpj2eXiOegOVsZAKAJJsztuUfi0Tq1Ia94Q92mQaeG6adQ/3bMOI81WYMsCBMeZW9b1HFtkIYpwkO0b4v2U35N3LgpUojZyI+oHp1CrWWxC2yHScuXJ8pPu/18RGepIaKETPg4PErDtKcvyDnVVEQoN/X9HLE7p7gd6EeQeiV1RJ0T7OeApbggmyjPi7r4LI33nou/cqdC5Sfza0Mtr5Nsab2MrkuQ0pY3eCHMW8yHcmG0KgRJEoxUnaYYqw475ALUdiTOsdj0xz0kEzxfwNxeHgIU5kdPt2daROep/wwSNDcll2wl+KKCH06ry7Byxv7fZNa5vR9b3ooKbiF3RLNJZlBvd3xUxVvJTvdwBpJo1Olw5R82zw7O92vzpY3KNijlzRpcNQYv9n2As4Gs3UOKPDriSGXy7swiCw8172qdQ1G7/VVDCCv4MycvxWfQo0zc2mud4/YTvGUxfse4ccUIAk25Puavmv2O6WzP3Hv0b6SuJwut5/zEm/fMQZ0fsqNYsnGAKHGI6AjqN/CojFXyCKvkNPZm68OQaxv3UurJN52o24cSmQVGwZaqKLHFw9cdalgC3GX4YM7lrOqj+mFVRQYTlO7qB9Omh9FFMmTPvq8B0QrZW4AwbSWE7TZ3/I9xRhO1MyWrZyt/X+LnsO1Zg+vLAUU8SSJQ3AbioWxIPGkjC+5MFMYdnQ+3/IgVaquABlfBc4PJ9WTFL17rvI+NGpzp3wg8Vxng3cclzv2QG1nRbR7mhDkAGB6ahGKlZcpNa6lAf1VxzYX1Me9cG5rtdqCQHXeqEdGFFxz5ZPXQ6W3D73VS+yuRI3ef/mqz82Etw3hYEIZBWuLEXKQz6gAp9qgA4q7ARK07c3zcxhqMgL9kifLmTs6pYyt8kt1XMvS+/D64rdAR/dx225Oe+eW414cwWAXA2kkl5o7Hy2c1iSAl+opmNHTlloiK48RzgJzrQXW1n3ZC9oO0aMpqZWS2R1FXpCZAluLTP5le8y3rYZ1b4kEAGOGBGyfpyEa6QeTNHc0kasUyY9kr52EWNhC4pXBPtU9pxY+2BZBo1dCmeOLrASk2rR3nTWbmq2f0coLHs2fkgMl9Ln1Sm5DGpCiOTfgXbD1XcJ8QXm47p5rsGCQC4xnbRu+iQ1sKeCgOE+hNB/0tLGc1gOGx78L3nwJ5xWs1TXVSWoVKYGpMz7HSB8/Ia5JtE/A3aQkcWxnmGm8GrCR7R3w0AxyTVAlE48HXj7SsU6poH2QliMWtU3gSvj0C54CcBpUBhC44oGvmo0Ebmh7+mKTFBfS+ZbDb+2mY8vKE4FbILULaO8eOj2sd/RwLQD8jKTNo+qn5Nocw2HujtVzCXSd7oxH1vmL4MnBDmy9/3q2cnJn/QNfbka9V7pDqJQ6B/zyM7LJ+5Y9OF4iyZ7IaZDE6su3UncvLf1A2mQs31nM/H6VxqOFR1GCd6RNPv9cfTnoFKjRpmEBl0RQS3A+/mH1kwXIOOQdrO0dzF/kFzXllLSOewZ8li8kFlVxS6w2W1xXD101+4Fcy4+YiJH/bWKbk//5SU55AQSBygiLLe9cZh3jWSe8waEkaZUq1d83EfXO9B3qu+MFNTDsmn73PmwefIkmIgQLoZFXwjQqv6Pv3T9BB9CgJqr+vaVAsycMk4eCa4TS4vs48eniwFvgKqlK82aFhlWNfHHS7kztzbdLQEjhP1bp78ZBtzzWPj84PxlHugaudiYHEWEBijcwQXGnp+tp/i6+jMkyboRUzIfTvQMukwPiRgie1uSO9p5zkT+zBKE1bY4yQxf5ogxNKCPPA/EzMu7197CejOXzRWB7xnEOnnmCtGE3yOmao0C6JDDxGG9CaC+BtxNgD/8JBodqPaPt+F+7r0G+9lhgTfESLX/540YWfFU4TiKgA6tbvioH1PM0lvSs7DSPqJWE9nR2NwH2oowu9hTbivfU3dlYUfRLU/eXdYx+kFWLxXSLmYdMgKXyohsJGgnc9vQGcCLuWFUGLBY1p4WHU4beA5lByrfqw3nOkGDYZ1u30w8OcCdKR8qudbHwtqtmMHhseFcMqJ8TCNgsFihbYwrr8i/2i1hhqII6vtZGqw0ebXMz6xaze6gVF7ma9IBzkd66BGIfYx5/OaT0fDMWOEfNZmQOc2X3nlcLAz0AZTD2PkJQCxDNpdYbr3+dlqlGtbI/VjbIBzdEor1nLZTQLFxcvGpUeyW0CDQj39qU0kaJlq5xKRQAScTQ9L+duF5BuJMLi/kXSPtdju2lGreDMWywVISFIraTBLM/VMyp/gV3Frzreob2kjSdbVeog6zVaPnt0S5Xk+5+X5ylX60W3Pbu7TnFNeZxYgfyBZUpekiydkoR7jQ8R4W5Je3kzf1NuL3p+jpvEAqbYMD+XndtvFKrnVxWyXQ9dtUOSqsmB9v03C5375h8Pd+n8HM9q8zgt6yBVKYe9x4EQPRevxnX+hbUPuJEMM4AlV5ZV4aUZXcQbq/YFglIsJMTSXv9x/++ILP9Pc30rUeuI4ZwFVpuREsBTly4Xjb9/2cFBnnhaIj1htIUct6PG5MYfkp/obxK34eh3Siu8R8cZogVUcjgLHs9g/5C0u2LBXP+0R2h3cS4Rf2zWMJeXaK1oG1hZYFX/RfMGOuxYvC3LF8p7cTit9seWtLx6Bc0bApX2/Lx/N53P3t/XZrJfja/S+xF/IjGlY6DofSzJnRAbNQE4gQ/xeDQKvV5DeeFHlzYokl56wvdsFa86mfUa3jeC5zAoV7T5C0Jm35RtpLUUf1ODQGpWdIwUoJOePv6+5bRV5r1H0F2qonIcHn44PcpVtLOJsQXuOyfXOFnRYy2t99fCCQ0K/aEuJxjRUjelUfAfx0u+KR4CPpQQCHPQY7CJ/BjIZtPRBULu738059FU+kK+oGRILqzfeKEEVEWXcH+IEUqCevRfXt48NrAgVRj00EZHyr1QqslAK6SgUbY9eYtAYQPqyHJNeB375c6PtZcXKKImJgV/GaFfPNPsbIx29WxcldNe8cG1mjTS7qkhCaZ65Gdh+sK4dleXK59VGQydmaMON5GLnqJzobYQFgj+2NnEalZGvNOp9KWkNNIDOzwHXIfk90RqgbSdGpfFaDLjK9n/nASwbXXQxt4CFovMlGYWb8h5EVpvkdv32niWw1F9TQWcdphcaj0g0nN/ef2UsggsTIJrC4hbrG+5h7uNz39WmeJ48EAEKKZGDt1hC7E1SUhtrmC+hhejUA7pHzKQeUjfypCj8/gyBWGtkAdDUPhUoKrW61OE/vn6VpWEKPAMazt7cwX+RnVjleENTNXp9px/DdPFhUyPgfQw67GjIaWyWnn23Z8bGzGrxA53Ys1aaz0+v+/+75vvbk10L8n7HM9KQIcyuM4PfIk7JG9xaewxJOLkceZGO9dpFoxA6oo59zXywwtlBAVBLlobloyrOeDDULr7sZNyDxoDMx12IoZl1QcNNYs81tJtAgpGPCJpJHACxi/QLpUdyaLpRhAwUU4QyrrbDeWXVxvbsHwn2MEHP3PtG9oT0EWVkORQq1K3xg66NuXhVXI/2A+dpO97iPyUiw989gF3JJ+tU8gOcqdkFR9no+La3p/jKjA1NkudKqdr3942ypB9uRA3ngDplXCm1clQOjNq7sX63QB+KDs3w6Rf1QGttcqPFeGptvPBfB9eLaj6mrLnGetSj0e+EwMyLHbf984vIFDTYPIeNCCJtX11+CJWvKx0ji1gUXKmahgiKynNZ3oCf4maVMgLivDqfbHLhdjUZ4n1smMnLH+MEI4bNvICOujUln/lM8RnQARd1qv2Ukwyp6LzYEPos2kvmNNE35PE2SDtxpGgvZWjDbhPBYwqCnQtTV76OVY+N4MZBZp1+IDHfQo51Wx58WnJ7fuzOk1iVFa31u7ObKljuAmVhUDe+IISFJCqsmJ3LJI6g2XKAgBEfE0YV2MoxCmNaYyiW430c+upRUv3D+DImqMJIEjTS3vi59B9Gh1IssVAAS7hOE2Q8lwrQ+0qX1VQ17NgmIuM8OhhCbJ5Lurj1aF8gfL5GJxRHSkoNX1C0russCHsozST3jaWghs8wQtw9p+SGbXhqg44aEoD9nA+QB/YbM2tv1rEZ5cbJh9WEJHC9lvi2n0+W+Zbq7U/SK2YHEm1a88Jtrot4GtPCGa2T/twn7hRBVxOagDdTNxWRLoPMSI/7hyLA4xHGSxFUjrVK8kY8BvSBlsAJnwgaOxa3AIqMFCKv3xot5p4IzkA3sevnmLLpdXG427pRAcfwGTt5SvHTzrk7wuiqpcw/kyGF9UHrlDAcvzrnMjOXhXsUytuPvci3kU8ACmUNbgIqFINM+t+8RonGRJh8OZRwj+KxuA9RqfLZ6KUQ4cmw8bpHOudgqXVXfhe+OKZrIj9JYyyJzrlgh6cHs/g2mO5WbzVJy9ZngE6Dhpt+BLKR7OrlLGPQa9GVF+Mmrk8qmK9kWJ0Q990N/BiiEXT+0aS5NBLsv/YVTXwZRU47T8Wg/7KRWZd/9uhqBvTNuOwDxMfRs9lZjN4xR4Rve4HqlH+feh08gvnB77VG3DqY30nbjjkWv9FHT5zbs9E+zmJ4JnswbGVkk2hogcmW4WezaDcAdVwTgNNbZv0HY4pfbCpVuWvWfCF60FPIZGa6DbQF2RB3nUMpze8QbPj+m4XK2HA5822ag4Yn/DHGguG99MJC8GlSHsVURAn/LLZVkM1ltS5aJYEw5m5EmHEtksmvigRiCWWr6q/VFeZwBiKQgQxnr35ltDUI4FqmsdxkG2KKTXQdZz4jr8/bLRQw8NkrjMz1/H/Hb1Q3ln4YDx4YVNJOx+Sckw3LtiBrgwL717HBr3z6IO+GYnjJkxrOeeK18BZTENWgoVhG/IR6JCQiK2DNHZRROseK4o+yblqddNmfYtlWn9nYoGf+oI8UB52vkNLL+4XY+CfsJT50j5EYypDG4VTB4UxpYsZ4FgqmPCLglFA+SVCuXALPOlAQVRxphin8kzVFvxbudsOqdaT9Sy+f21eDH5B1QFkXTneNYVmOJOvMNihBkB+TCkQ5VluymjrdM09ci2jGIyfwqd3HuvzP8piPyPO1J7pVei8V7jAdfC2Z5wwx1VFiNc4mH9vSzeCB50TwWvyQY5FszS4KzfRgad2pKUoxKd4e+Web9y1W39J2ttT35Noh381aeVWIYAlnHLdquKF6f+SJbV9ivLWbBlTDeo2AgM8BeawDf3kaV6ZFDAXHEJCUxk5KecOumjQSzRByAlw24ZXUAfA3ZHdzjGAfhW1oqMxjqh9Y0SJ8IK1T568k2eZMCKrBzfzG2GE/KkXjqMo6RXhCR+km5FzlXZZw8OW3JubTHFcvlDfGRIbhxhbc8uuIUeaZJGXlTCUOitUCCc+hUsnIOJIYhUEfUgi5FtgR0jgzSeM2FnzlwDyi79zyW/wudBi5BD67f54evW+LZDFqee9qE+R7LS2nBf9sfNQG99sKvtWyyyU2G3yq4I04ItGP/5eFQH9ww2qJ2Z/DndINBenhdx6LjJcoJSVE9jXOQFuw0izmJ53apfKS9Rx5IAsh3nKlqkK61+szor/pRIeoNI598kidNNsZCQbotuefJRE5taSxSjF0CdMAuOBkeq6Y9dpCQyEPEdIWXnwUZ5zK/HTH6exEpvLSy5dee2r9xsaZYjVu9t5piW2a5UeR+r2D9lLnVa8BXBj76SmsIC1GOuXV7Kk8/wxtLLY7rwk253YNrUKaP09/HSV5JdRlXgXEVslvrbRfur4464JOD5z6oDX5sZ+4YAPDsMykSa7iYs8jkRaD6VujpKYFKoZ30FHeYizzrgMqg8Yfs37sNO4bDEl+8oVv/lPFNj0MYEgWArjM+sL6Lwl2A/EEHScij4Fl7YEN3O4/g349UoeakCI37aJWHJknBBIiDnpLtUtMSqKcraIApXSYSTKHLUEZKj8aInox056LSOm8t2iz+fsiU7o71p/bGcGbbmKQ/2EB+1uWuAn/yTZyWmpkIRtMl2XWpELqZzlST9mHwcDJGyOYNAVt/MPlHJyY3poa9O9NgCf4C+yNWRSzQGAD5JedIQfztIRxPhIWH25rj9w1Q4E5WM0bF8eB1Zr1oLW79eOLg7y/AVD/w8NHPqnjt3aNEqOcnRPrSKrNbckYrQZrMGTstkg81FzAtH3ISBKqa157GiRzhT6yd9syZUquuNeoo5aSCeBjq//0LtHHt46hVGjPM3RC+N8hQ3KxL9DYIyfDkD4WwgTWubRa54Kg95NgzCxMF2IGP5DJ9gqDQBSJU6Px1l5caKjXr1EWWHTUhlXV4iiwE13CXBcmmbhcivnxq0XbldZBRM6ikTl8BYHyM3gg8bCzRGWHzviGkdxaNchpGmA+hEetqE1vmsMYTbw2lsCPblVbL0sBUQ/hI9LeAgOApDiirlZeRx1zNwn/ALjaefFUYI2k2Xqdn3awJZ97Fa6pZCNqGz7wiNGZOKk0MdyLzjWFeG1bcdkuScgV9/gUgq0ADeHaoY5fmL7/2309Y1skdyxZcjhNaLLWmWRSfiwu4M6nJdn4teuK2hnTBL3Me88LWwrWPJ4p75B9jxhIvRLAN32thVAbemFuEcOoO71Vyge8QEW3Y8551TvopeqCvkcv8FHRiP40vstAluyJCl4WbNTaYuROfwCEjhOPOXt3CSpfGXMqI1yaoQZsxj3cuc8lHwglrTcKhJ6krjTdx9fJUCNspFCTUOzxl06JmFuFfEdYID9PXGXJlJOcdsJVVo0UjtjScTaaznP/UyaFsPW0jd1JAWbDtA/khOr6zCxeJ89YVcfMAAslxCQliy7x8aBgvjnCe99+snE1qKHt2Ps7WOyGa7hpHaC2oEBcKBT8m5PhPn8bZ0YHvt90Nyowp2qW/01+nXKr/0ZVCCOCB+Q67P+++v9/cCoawI89GYoI10d+oh0optkqpGL88qPtiFFA32Xl1l7o7JL/31jEQIH6IAjim2MJS8FrbECIdVra9BoeTohmofdBnmt3yb7rWmvE1S0gD5GyoYd1hqoMawO6/ZlD+mfak4qnCg11U8ntleOzNIhTDHnQ8WbBlfeq35ab7FfQ0nGep6AtikMzn9KM63qPPDKV+Tq0X2VnpHuB/Kn6i/+msgYF1DvJJVK11QCEPeyCgr/+DSr8AI8Lwz2iVc0MBgPO+SD+KZOa7sj8zVT+3ny3zzbPsOSBFShc3G+p5Pel43itbJ2Pscmgg54qcJ296FW0XknkyWDxrGMkEjSHr1J9gfhjh+wOKi9oTxAjUeqSBwDgSZye1mioHetO+622YKxIbAY0wfsGS65tZRyQac0vklaabmgQlBdmDQsOe2c+Lszo0PCj7PeT9X+scddfzQ6EGm2kBT5Yj3uEY/6dhlklkDL8O69E4YB7uQO3BpeuaAv3kUTqHSyIn8aAhtFpcnCQbkxmNSsWOWRUMP+avi+cwzFu/AxEuhnx0GibSFT996kKSjPB4w4f7eoPmJ+dJwGA+ZAU3JL5Tcat5fncRmXbvggxu3hffKpE22CKNjHCmcaFyGpJzv8a73phLwrUSMl6ge1HZHQbTpIk/HKjtxU/5JN/56kzabPYhKwzc0VniLTK20LlLxcdXOILYDHN7z5KB+NpCQA0pE8dnrqUvJZHW3fPUECsvPyP1LzItAQubP+psAQv9KT/8ZENWQHOXpDpTrTDm0IN4TL5uCc5ohHL8SuGWdp3ORzKtPYWaEZ0s+fjGmVrnFRFfttxANcDr1DSb25+JFcOkfOnDmZR0T8ukFnVXxuVwmV7XB4+D6luJs5qM5L2AqGgLdgZNyr0Kike1xe9UAUsMEn/+0cef7NaP14j5vFKmxNMHkAy+FeInoVSaghsmwW0BAopYqGL2SW2RdqFxKNI6Ev1/QjMYMS23CL7Oi8PPBqZpX7odQ5AmKRAYJVfrNGf2WCGvpkkoxgwQTRa3rC4Jnrdns3JmxtivD8VmZsY4UJ+5A2vAT5CI7x26miRDPiP3dEEiMHh5XRINYt6CjqpKjJzG4jPnowXwK4kvWUZ3ozW+n44XQGadu6ly2OPOv/uMbM8U+TBEBoG83Vdx2ejrnJCtZDr6a5msZx0rKLrl/gHoWqvB3clY0FJ//65GfjSJ043XVJgojXvwcxsr1+7bvnvJ6yjumMW2kujPl2+g8tVE+uL/jJh/tyuKiF3Ln5qFFkuK9Sn/CnzfuI2vWbMpH5gX6/SJ+LVTlVuZO3O/pnoYbWeDq9Bh6gYRWk6OucctehYOSatScz+Z0EELQvnqerS3glnSxpkk6UGWmf4UWf3XiOjQtcuEBzcJA7LpoHUdKUZe6Dc3HA2Nk+hO0FGXNBcpdmTg/GSYUzDNQbm9eqSpRmCjxpgIRDnlgtltIyuyVqg5NHEOpAq+g3DHVJCJvEHv1mA1pP9T9gNuhFww/T70Pn1MXyJdvgZf0b8kWK8tUcX/k0olQ6bHOaglZ8i86wv7Iz39sWUxGEGP7KHNjpL0ovrT4/N8t3N6Ny9ZYR6uHAOOK9J0hIbpm0lzuLcO+kAnDO9NKRAmK1cieNgQABEaQ1bz1tKt9DOBL5jZ0wtffKNagS+gQD/a2Kx2ONzuvma0dWYHpKoct81FKhG1UPBvaNJv+XaF1ojwWwSXZjMFJUavbOTtzghl7An74AcWoTjgeV0CRCelKKyW97J1cCH3HYDb7EoQsKSxuhX9+NIxLyBG+GjiZLnlPCCr+zcng7yYw5Fe6FYTHcRZsQlGHESAYCa7uMNfpUKzH9p87Kjuzc8EMQ2AKFY/qySxsgL9Ya1UvDyvv4OiHJtono1TQc9s+JtdjQNDJ/kyzkfoWNfQYTL7x7hPEZaY/UunmQEl/f81Ad84SLvGi7oSRRuimthN7R4OQJy71sB6svDL3aopcyajKRDHPpcUWNxqSmPj5wAXNsJmmfZKH9ZN4zRJMtxJiludPRFCLErpxz5wHgl39nWOpx1n4PftYIgAclrCrnK1e43oHp4knpoFaZmET5MdTvUjdwUCTCQKrav2QQR5OdRSypKxUPeCCQ0xiDlVHWPlIVLRMs+bnxwvigE+fQobUrxHkhb/GAAAm0VRq7na3Rm9mUIIwwboFAv7pJN6RSU/6XZAgKbunmKDNmQbGe3ysF76xbgYGT46yrjHJfQSsqCjMgvfnJ1ZU65jG/e8qAcxOgkAzZryKlFG88SGxqDQ/meCAG23aUoTGBwEtncUB9kBQIb3Qna8dZOhGUxhWcEUeozbEBhTNNT7tm06e3525fOKjL1wSc0sqozx7uwjidqzY1RPb79AzFbu2kmOfMeqn189pd05IE651QKQcdDzGV3D7Mbuj8ThW+UIlp1I8ustHDJviQxjnUxu+CJug9CXS66ewGAzH1Fmvdq5PwyY/zBOrpiwAojNXN9V0M3pfV4yHpU8JVtvjej5Srly19fsa7QYnacL+tM7bPP/BfBQQAlEg31YnGyneFkKVhpFe/hp/MczSAEv+3px8/Qk+g8n/pb1PgYp+2v0joIbsZGUQii/QBmYK4P+jPX0v8ehZvsGMNgt3pN6EWaOrNEjI7SJXQ7H+qgcCaYpe4LAmu2bCfaUssvf1cmwMA/yg3u/4t2d2zivbnue7qj2Zpw9GyLvRbgAJuSS+TiWsuYns1DHhTeVGzVw6AZk16MXr7q4v9as/gclULE88LOSzPKLPV5cuGL/6Oc/75vnm67kccXqleOlwT9BI48wfMXgg07sVeItUi9p3WQTpz5xKEaruIagbqyudyOqpP8fn9JG9ftN7Ilm2/9bmlb13LHr4RKOzRaKP7XxszEw10T0VsjNaE2CJyglV5LYjYPxgaBT3qOBim9i6GeVM6EeTFygyLKdHPA+RIuuPmNSMjB5dMnKz7hMI6YnALv/1U1Ty4BwPcMRGajOKrN1dLaNrXp9COqYUmjrS6ibtGUIJUlgvkG4+ZSmWPoAir6zhs4opFEI1va73ajIHrfmqEFkWPLXs/D1N8ZTWO2efckXG0/Z76RFIa0NJROn/DiWsCU9Fqu/VA0bgcV4t5uV3nnCWK5JjrZPra2hI2LerPw9GP6R4vZRDOjFCgua6PtxU0sS/tFZGHe7M5RV4eXBXvpTirh+XmWh6QFY5gy5lfgK9Pt2VcpjeWoFQ+qb2ApaG0tFtUMUWdOTfzG6p0I/KXiUIwVbxx0fJ6PkLHIkeb0kmtCR5Dv4ZB4TCtBFOvgtWVytAl6LNOAiwevhJkamFCcvwOc6VJQ1HfUGZe2TOHGTVLoQ8MYcBhdYxzBSzjq69ZRQmuZvupKslhH1ESrfOZzzQ31+bPHU69YqxbgOqK+cGjbw0TOSIS3f2Uu7b0qMQxqRPoyuXtqsVNk2p8EDwvgK82HCJDOeu5u3idO5t207Z532QFj+XaEFL7iYvZoulgXP9tf0qwaNM7NGpQZ8xkD7ypKrq3YOjp4xdAdh7mFo5lVe/Tx2scFeh4UkBhBujknisnLDxZ0BoBaSt3fBXi4r25CNrC1QStWbwiMN4XgYKfuao74GWbqf2pGyyTzQfJt578QRLEbekYvAAPBHo895OSXTl7aqrIdwrr2iHqC4su+Fp7DLbRC564HbYorr6gpy2vpBh1p81Q9aw6ZFGFr+Y+v9PzRvcmxKvNSsg3PQcIVTmKNHm9uvXxbBTffMuUnmFI//+wZUIB+ddDnu97CJrmK8Ph3Loa8jU4zxdw3HFVy1q15Ii4n436ynGnUt1VqC3AGfmfTKi1rmPeGN1+9ZIOiDTfXjC2rXeHF/0BJQxPngZFd2xGyVH1X6sDUImvnWXzGXXsJ2y3Mc/Ty6fWKv+LDUgtoTq4EFlhaYA449+Wk2NfJEWshHZFY9EEK4ag6nRFLUlFtWl7J5y6l7gAOT1R7nKg2Sm1i8tTBUxkEmwfUyvdgraDVLMjr6v0xWxgpQGuH3dlzGHY/N0wCm6IVruDwclVw0hog9hWorPr24XiZ57/vv4a90gXLS9EhZ8yxJs7DW3vbtm8psRaTrBEl4rDvkuyUTxFwHxZaJ6dAlVoyhrE8YByPkQLn5YD9OzGWf2HUlWK21ZBrQ44J3+/gHMcQdB+/yRmOTQzuTBb5Ew1SJ/CT9Us8lu8O4j+heWq1IoHhDJwApKeBi8uZHjX57rxVCYTZ/sZn94WJWl+1pVQDjSzFMrerxT1gJbBefhVfDDkcSOWd84/IpE/cehyBqk7EHSEiAOwa0EpXHyzmg9ond/INp/09zTxjEXZa353Pl78Xxj/R/78hzBArmdT1GmHitHPygVfCqfRNZ28C9AGzqk76E6iyiX676J7RN2Byh8ef3M3bakJtw2Txpb0TYuRNqUoQrPzH4sbivcf9s2buOBgdPFahdL/ZCRS15s9Yr3Hb79H0pdy+OWXV5Ig05Ti0mYiXV/LuJmCnWpXNfK9ycKcV8hypNywhmH471gcAhowqYAJlgkSIkjRoi3zcWbK6nDNI3eGVTmHSaTHtjG2gnDEjUuQCQdF4K7dZmopY1WlKCWl0UIkOig1h3zpRENtfCcV+1Ha1bjZ3KAdAZNBbZwDguMKAip/rYBNCldWo3bRrpG0fxe6Iw+DT88sgjuDa5ROBAoNjGquu9Rs7NJy4dazrMnn60dXgy2X01YbStkiUcVYzY0+Adj6SHNjCZXz2e0DBxzNExpj4tFFrRWfBLN3wV36m6VICwxTkLGBMkci0gGDhQAHt/CTSwcDgX6aGZcPt027FcMeZcsCYXPVRJvGYArW/GEzTvyueqKI0PanZVztO3SvzUw1tP8geazTzi8jvVSKFydg/4hqKrioOTnsl+lFZlF07GBgNZOfrhxcDj57mnawlCUZ9KO1RRqxqFHsz/mzQRn8ZXxVIzRkh7GnV0nKRq7qAJ6k4wQORQKruFXA/hFCeHH2Rs7rVo3+dO2e6uVrDya6ZuyMDF0Y+ZpeBJwDwnpsm/kNCt0EOomjyFwgE98D+gN1yM7BeHKKlMtgK8/NGhmAOHeaNioG28/wFJ4yshkfoqbmhYRU/PJf6qadspXmp1PVQCdB2+x027yiN8TTLjFA/Zawn0DuDytsf0oHPwy+XU8W7bgO85JqEj+9HlwKGeIWTMui8Ggcy0g03lyqUaljNEOFVIjOm5TnZ9nB8vuzssIpy9zbd6vZWdv/i8PC54EoAqecDdSyCg1YEvZ3NBON9P8ESiE5vR4HNuhGHqGz/+Pv7E81QOMLBjSH+EksVh/xG4IfMxFBUeRwI1GlO5Bw4H+MukPcV+DqmyoKdId/4hdddSO1EnVmvTMoOdmISmWduEZo+uGzr0arshlGmLYw7o1lLeBRQif9Es07kx/bYUeRq0/3smTIQCVlzRHPO7WQCVZj0c76vCIoGvS70trjKL2K6G6IBsVXDSlVkE6XyMzMSX+2qsBgvF+0YxcD1viqaeiamXhVguHKZPlKaSrNPeiCc+ZtAmhVR38APxCWEFyEP3HCL5c9o/jM0t6qApJ4Pswm0Mp+HbyDFiwiA//Pf44gw+WsJUzoaU7kOhTEV3fwVOJjJVf3H5QuImwCPc24hac5CGQfxwB8QUA51fNWdYR6QdRFOXm24SnbBrZmKo8yEMUj7CLlSiqKzcVAYkVNm0MQt/8PH6Imqb208irNXdafjqCbBFhkdNMsKmzQQHWA+AmkbDM7qxkHipVZZYHR7aA19D1xFR8WrtIQkF+OR6KV8TLtQML4RCeswghCV+rHiFHd0wndTzdQSwGcLyDl5aIyw16JDehqgZJb+u57fxlYHO+AhyO3zkfoTLfgqjwl0UZAFOPcrzEIZA8RfUWk5XrawAAfCENCEYqSaKYRw3hpg+BUBeSjIsEad2mo7zSe2ZqRc+ghBs0wTFLdj7GqjDcPyqfjawoadGgJBk9v3DelqsuNzJYIVShuUq/3DxXBmcYOGh+DkTLACV6j/t1adZcA1Rri+hZ6qc3ZLJqSxe9hXqpOWFn9+Ok1xPTCVFgxKHaJMOTGfLKaPShozgPRrBw2ZjwL4ydKcbTRChie4/TR+xSkueAPR46U4uFuCgM0C63xgbmSP7wpegmGuzlIMcbviTGtI8pcQooxmqwNrbo4dMoPeMGFvR+ZPg9wz77oKtr2NbpvZUx9sDzLcRozDoIc0SVf4ihcd58OucnsAPZ+5+sjccn3Y/MC6maIP7Ok0kaXiVMmjuNRKhR9pVhgMEpODw1Lc9L+I60QBzBw2e5LM5ZF9RjzH5EIxNeOpS6VTJBPSjcpuG2Q03kNiva6b6fk/vFXS8o4Bcbqdzq9QfdnI3/RdjM+2OBsLLYifQdrj2+Ctgb/4XsINgKsMMz4h6gJ2a0AiJYzit+Mhw/Ao1TbvP1rMwufnHU/0m5X4cFyyuA1ZkRZ97ythxpqZqDdiud7oC7/2gkB2X2cLuZqezAy5ZS0KXkNkSifDVxNyETf61wxtMgcFVzvcNOQaefUsLBvzc0pqyFe4L92ORSQTj+yr0ZraDvEMoPSAIqUv3d1aNi0Zpi+j9ihxl7ICVeACLOjZN5jHgX7QIqkrZdCD/2YM0V2y4XFJ1NXc4E4k5LV0+AWHas4E7VkFQTx0xNyMVWol5s1hSwQPd19UkI3/0ydAtZApwaseMFyKCXq0G8B/+8GdZODkIgI6keDSY+mnNClKnkKC3XJkfPyVBWeE7aF1dmORQaXPAZBx1RqAKnBrfUhMQN9WfL0ZqQQxwJlQX2tOAl1n246l5Jk0MaHEnjArhJNMbAjG9yE0ci4j7fI2Taf3G50nGUIJC+C9ahe9jZaiVa7RLJkfH3Ymwu907paBpow1bDth9GHxduvZIyyTQxRsqHn6YDXxeEDfARc76GMvEXz+1BgrVxiDP5mNH/w5vbN0ptU4831lDSNyhefmG8gm9DBeOECmVQIH+YcdlVFcwR/jdWgpaw549wRZbN89xEjC60lA0YotsgjRem0Fz9TF9dT1Ivuzswot0ixJRLTEQtG18Z3xod5o+qrKlBx8rVI4zRLPDJA5qCMguM559ErGFblRVFZF4v70mEFe6sChsfVnpdjVNVX74t87dSxm5fJfM/M36oKMqwHDO9vRIgDTKm9clg2U1FZAjX1/aybM3ESnCpSuV98TLYve+H0Vh8o7cQ7FPeFrTWTIu8uzRawtFIPArbRlLSrRTztGiOUPoY/OpjwTQTDxAabBA+CuYB2my4wfmOJvgRZeI63dIidojl2IifOKxrQ9Ki1HyenKsjwRm9DhW6uSo+FbxQA1+2S3AgFM3UAypm5Hum3ZsMbhfHHi3ur4+e86a7g8iu99o7igXkjFOXNQYl+ykJpXKPSn+gBhtreULewD6tVVgBgE4zYRxTrqUxC9QAiI8S+7tZBLccMPaGLa6dE+5xqF7GKusfW2l/zPwcwl8q/sXbPBcPg52EONa25IRwrYuYEJwH8nc+5LzrxDpcLL3HVSYn4KeWh5TEYyFJDPFncSR8cq4H4blgf5zJEb7XCd5GnrtJZOvU/jSZ0O95S2oDvpbH+/yAP4XXpz8mQIgTOF6R75UAzNvdyEAm2PWId3HQifigBb9FTrpg9R+eKgIksMJfepHI87Wjj+ZtMjxvR/EOmZ6O/fwL40uGt58+IBDRQq8N4vHU4Mlv5Kibv6FlaTVYMiNl0x3VN7PK30Cw4vzF/U8LtQoZnx+ZcYNewf1a0AfqwqubsvwzYdb6D/4rJyGUd9pj6VHVAS9Fz44e6vV2AaDslCc5liUDKggNs3wQ/7y6vJqIM6awaI5xHdpPmV/StTRuvKzW4vdM6MmHHHiviMO3N1FRvkvlSJwU5ZdfurlwXf69jIOFS3wyShmw5ShpDmHttMcRmOdrzioPB0Hep7F6GHnQXRwD4OXUMwnbZzPAM/bSwxw+3AbU09LYNBPEsBACkNh2ZiiwrTSgBtP95bxkQXohC2XDRcSnBtDQDLNJTOHiL+rZDMFATaLcTmWzT+2LhHNleDfHNGfsgXreHE76O57Wtzoc7w9/bMG9fLzSWm5T3wry4a4WhHmrq5+tmr+SuQvfU5cdpPqNGUtjBJX44sNwmQnruaVRSsdp++0wm2+j2qoVI5sg/z57qAvz9rOfNNrbYBTjYrN1lETyRUkdOpu3SEFGUPaArqgDVJYG7/oRvMNOUJsyWlnP6Hq6g5yTv6PF5yrFMcmkJHrjDVXfYEI7qvvJ8gxMtkCvh+HnRzhndiRrFw75v3Nx5n794pjPWFNg18DsD0ZfHjhDvyWhrresko4LKRJGKaBI2Ur8So1BNAc1HqU5NAzAydp63cXuQ3BdFAJU4nARwXLoP1uLYV2owIEAFjkcejC2WKpDpRydpj9BYKXDV/M8Az5IGQQzoQ7UIYfCGPp5HfavcxRU/MVt2sxb4ouUDU6ceuwO+pcZckgBDM4G7trcxJVq3aZzM4lRFhXJwaBBOPnjB7u3DZVW7+eNG/IDsnuo7HJvh6GMUcJSq0cT070crXzDlL6rBVGR3IYiN8rTXhEu3+FAmjZbGDjAZT8w3XeiF/bBd97V0d685YdwEevih0nwmEVXN3J+rd7/wDEyzRsjkADvLSFgTRPNbdZ1yKrowZsKAgP+WaEtAyOr4SLZA7XZOvCgdkssoGWznWedcRcwzAdx4o9ZjZi+UM3R/chhn0Z8I0xOJMDd5UXgP37GuwLQCRKMjwgMzERl6qO7kWGVwLKtqy/UvJ3xSNnZvruHijkUZSCpOxxKHSOVSsQ1Z04ztimr3o4v9ffB7vZGhILyPkgyHCujvjIn/T2C7rucadroNnXD9Wj+fUibL7jCCCY2EG2sSBz2BZ+ZhnDh23WZgFyzlvUf7IAxP1Ee0xf9aK+l9imdfuzAg8mEQ6t6jDS+XIxJQMpLBRucRsBJQEzfYUDPuo4DaSG+6ILFJZttI4Ve5JRDosan1U3cL56f0zjlyllj/Lt5QAIWcIbv97YL6XkVO+wGPk9oJFyOcC8bsZ35HNGjSCXY5287jKCQoW1mDAhypNAtThzBAMoRorECz/oDyu+LT53AMG6Y/CxMvxHCgoeTGWSowBE0d12ehhGhq+amEeM4zSR6c+uz4X2lHED///LhxjMctRTIlmp0xlPPZQesIw1MPklp60l2BFDut5ljh7y5LCA3DIGc73b+Xu+7/uJM7KntKkR0NQr5NKA9NAcbfc5lFlZcfEKGen8KOgiezEahtOX+EpkH4jnrYS/jdCFbU1oX6GaOotMdk83jm+YyRpGxFsrQI8y7YoACBa+TVUzyt8E0bc66XnHxpl19hRGI7lSopRqtlhFsyUfQt8rKQXRD+RbxiaCDSpCn+yAJbCclZnA6w4FBCiOyvbeAjNiAd74CcM9kz390fHI8HJflMFCkk/ejuL5UNqT88wixlHIKkxtXwcsSSCjSPdShTIaFFtdW36oX+iJaVZe7W0IizCjyYyiNy+A8QP3AdDiqHMZiSeoj7RU+U3CYMEgP4TSeQNl0T6s3PRgx8+3gelI8G9suteM/oZ6y1QQN9hmnbhKZB+9pwRZkciGM2+HVQmjhs8tQqMMIu3RaIHx0d7WApyoe423aoK6Pvh3eVQOFENfyiAO2NGQMIBBIGOVLLsN+/bvkbv7eAWMr/JLfJYAtfQweJbddH3AcE7yYLUuwotoJqJ4X3b/aIShqTJVJItck2DO8TbyGa3L1ZuVMJC5EsvO97Ze8J7quInqJJzScPJqCCghJcXXlvXPjZowbeB03MaLmUKfTdotOqhpiRZph6PzInpWTxdZHgrIZy5EMjlaOJbTAbwGTiVxmR73PKoxXwwtUwRu4XQWjPo86hiTq6axvcBHANmOdmR90CMvx+qgDH8lgglnd/PSAsPHH+/jASjLQ+XiuqNdVS6r24dg+a1Qs8KRaOjRacTWY1RePOUMaJk8g+bf+PCm61/JiTuuXxetXg8btGYyWCpVCybgItDqzueG6+RKHQZcNXi0O6KLSRqIoo+i9M0vBBdq1wHZiE/DrBFuI32ppL+taYnTzhIiyxk2QRMrjTMP0C6vG2umtbEo6YJD7KKEP9iCe7fxWZ9lKx6RIv7DSbI0LhAXQv8zGX3wnCLBzlWlMKWXD6PCNcxSXl8IS0/gutrMy0IIxKKTLc3BZSio4Ocb75ngfX8j0+G9TeQkIqlr06dWjKbhoyx17RiQNq+nU8otPdUjhbPXJZh4IDveOU0GSssVtKHdjhIZ0dhVIXFrW9sglCUWuVZMf+9CV9BmgVhsHte0wlRLR9V7T088LWMDu2Gx+V2hfd2sufW+1HI9atQCtal+cG6WboNrfTFKb7wlmPQxU0Ir9g78zlHxjObenknnOCh5Vy5jnSfAL6mwZjWKfwKE6EyrHSwOmfTNdUFEpFagt96vTH3JHJSUPgot41n/4uHogjAGlXZWLkfKaGD1kaRezKKq1+6NznJbKIIUavPeB/SOd9B6jfoE5LdvZ7yVTiSLu4vyTVe6zd/R5xp/eXDChtGMG5dMHyTHNIpINlQN1qFcllL+/XvBEwsU5tYk6TyTjdLGO7tqVEvnoSzkDAh2U0KpPFwW+Dl1tNddoDTmW28Tar7jZrYDQoZxGnxeh9vs8LkbK4xby1rX2G/dqsiGSwTCdPW+XX6Bp5R+IQcse7tBQEsJ+kAZXEP2RVlpJCGeN78OKvPu3w2DM4T+6zbZI1wtpgFAyHCRoQPZaDjffOSzQMzfLL726lyLz/MCeqIXNhdvIK4BDezYWvCz9d7pICIyT7rIhyhL6skn+pQldZhxcXEt1fU87jYiVDhQ9Kultw26hJX/uyaDiOcmXhuWEA597LpJb154kzG1zwDC9q0fao3IWMR9UX5/t88c5roEuC4iAtdA6PxNxw7lEix9k19x4WMtr8llJJSJsItwEYarN4Qx28z29A/g5aR/gIETLY7ctz8/4uQvXjR5K3RcYRnnf1A5y5sCaVXTcxLNDdCgzwj44xNPErSbK/lOk4w1lTlcvB7yXWm5BuiRuO2e/vSARUrxfSzurZK4vGfRDVkS5sPUXiwyAF9T8mVXNd6qY52EYldcQfuQ3B/3kiyP/t3m0cD4FAGZnWUQbjfj+CLicNPNZbj/WcW5h2ZUaGhIHNNOjTb/TBOwDV9OfLPmZI/et4zKqEl510rCGq4M0eYIQGnBoEXmAfvrokJHPAx1iyDV+MetWoWD5wTD8TnikNQ2RqRWheZIpNSgdUtvx2G0aEI3MSDwogYXQSecogXOIzB0/7gzx5zy8EQxvTXNsiezPziLvw3i6KOSpGsByAtDQYyGgeVvS0P32JxXCPeh0L8vqNg6hG2XjX5gZotdr6iqWOYK7Se5td4XPLff3JUGo9kEN2LhA8fLvet5kCe2CMewI96JDYNBp1ZLt92L6WFN5tj9lGrWWdGbTOXwDs5FkjvyyZiBgeGIBVurba1s3k3HjheAorl2Rl5fPa+Fw8bLnnJ3pldFYZB/I01lCgjpwszS7BqbIbLclz0ANkpMJVaLrK2Cmfbqce5f7wnBf1VIFyciCXI4MQ0cK2j8mKopCZ5xwedbpEh1Pb92S61WEYX0OCx5Ys2tA5V5yfMD8GX75bBcI/L+E0AU17r6Sytqi7e/625FlbFJfcly7/l/auzjFYA9MFqLd164epSmOosOmBZ9HBmXTHMRapw2XX34fWDiBigo1DQbYb3uKCTMv8k41Uk+2H1YujSoNJXEa+3+ToniclJwtvO9Fd9uj5jg6Ar0Y5Udx43h1aUzXipyOixcsJnO1V0ulYs6OF6Rt+vPXpHS7qfLIgrjRCVNW7Cx90iR+DH16HITnaoL3p3C7owGLBZOnEXtE8I568Fc/rAWQI9lEUcaz6RBOochOs1ecNLB1/0GMmrjUBr1Oc4TfNRIIucKLKbHLiQ/h1dXa1swuPA0HOFW5pReAs7f/GuhqJXvh4bXBNqNnWJlILN61Ay3ExwSMjqXAJIuFCOrvrKb1SQtHMqw7Wp2YaC9N1IGpTwlFB1sPTbB4NID+uhOtyzu9g6/ydhwMl28HXy3NP6SvbAPa24cAip8nCIO0PoIc3ACw/S9fnyBXxdbRHzPiiC3QD8hzfJGGfaNlj2gRskLObCJmWQoiXHEN4cMtknFSdzVMYXGlh2W9w2QlrTRokRs2A/7ITfzo8HhNjeCxhykksIVE+nYEjogIYMJP+afFNiaz5BC16tbUvWG2BoCXk+00G+ALT8fkWaTYsStwRRvCd3uD1lsKObZgkHmjmbfYKmNtMjFTBurIVtIUHDw7AAoLAim2B+s6xkNaLnFrRQbPXRF4YtfwiJsq64Fbn2Q/nPzEtjwr1fUUHuagRMRkk0wk+hyg5rxyrruGKBA7F43YoDRunwBx1fElAX2yveXpE702Rrj9JuKpeYpRTjjo90663qeYM61d/L4wydTKzAsCFl4qB7ZVzVURB47cwFhpujJnjJI2nq4K8CgLctuxgqBjryv3C2MZtsNgifzJ6/rDsJ+i5rrj/GpSyC+pcJBJgGleVqtINspOr7Vc071qTV5sL1DweK7lbZ90o/khq/DdAPv9JKdIrA22ZNOkKl4lOxhHoTgventJyotJmun0sPKz2Ya+xKOQAALFxPDMrpm6VfGtQaCi4CF8IKdpYGmCr7s5jEwZHs5wJiR8c5dEJmvm0TQQdejc3M37pQoCLHvxF/+yAM6qIICW7BS3/uxkK/ScJS/7lc7LS2whYr7riPjMWMoJPAmT2jtUtMCrDB0b+T4cTGqDDAlxTSp3ayqCicWnzEg3HSyS4tt1tkrIyF9G1utMARycZ+iWV79J9vz7jMliFR5CgakPiMuPeYKbDU4pzzVIWWIMlPKYg6OT0qIqhPwZnVlu+6MC3G2TGExwjWwZ1Jux4WBKyb6i87ViabT1v5s7nc+wTbPnB9BkAaNhMHtncMI5q8qsJoLeRKr3gK7CSWleymrZUAIDF6Z4FFGAw6IDUXnU+5EKz6y63ORMb80g6KOY9EILGcVNijM/A63nky+FQFYbsctUMr6TzQM+2utTDClTvatWc0kqG2WViluVYbKNkiHvOGMqgrymUxbtT6b+gzteQpdwzTkgxz2KZyoG0q0jEe7wqqYJGV/9swqAUAr8efHgO6noz6JWHseQuuC3IdIvQOqwnOMAVXKFEvaDXFU9Jm4QU3dxHSS9fweavMjYfKQe06UCVRz0S9d6qb472x8ALR0A8zWNfBiA8QraqOMeapi7XJ0jeBD+glLx17r0TFyzMxPkqy+GQlogskEE4WvG9SeUziGodiC1pZII4NduJioosogqy/0bQbKEHXZNkOprFD0CGAvOJAwUtBgYBz4OgYUACBM0xBzePLZKXUqKsVTFNq7JUXOrlgzz/skyrnFAoce+7zkkh1GjobsvfPGVWK/tTYmt3W1mvrmN4cd9G8SvNGEY4XliG48T6DDk8emjyTagfNFB0aKh/cb22m5wcsUdMiqtUZ0uaRExjaP1yrB276uIca8j9mE49FyddDV6/HiwdU6DE91UwNrzy3UlgUWHZQ/4eS7+efDzKXSBnfds8d8BiIA2Ou5m2MwGyOsRiBIVfZRrnczqKxCnwQtYPechewmUNtIjMRlipFSxzWATzpmnSvjlMQMzi+MRwwAEelR3SdWH7j7BVvlXoRWeFotvxDPqw66U+UdHxUyyMNsw430op0k1wmc/s6I4t8oePAg3/3fSCYyGEGnbf03QhWbvrd9vcmrCNHBTPzcegOy7K8w17sd9Lh0yv2xko0vYK3zz9KPh/X2uF+2NWeg7i3p0hhi4mBzM6701ZcINpkqSll9cuHKGZoInVNpo9/TqWlm/zb3+3I0c4CQ9rM7c8AjNL8N1j97TS1gyzEUnhm+qf9Ro+1Rh1VQMy588U3E91zR5hVto0jlzhtLHDo4zIq6eO+P5lOZIved5hvvzLM/J9T/BXhfP+DW6MzaIdXBo8wTZh9hgp6Awsth2Sj3MOUo4xxdft8r+hRSweRMyHGpmqOpuoHScv0T1QgMbZeCt6ICRmswhtKN3fsKtWBnPBKmPIDK9Wshjm+RaSz65zD5c2Wtht2+F3FLE2uQGeVoiLdcY3nTbNfpYISfZ3P61apiZDWepj2RrlaE6+icF1tZ3CTHRVLCOQ2iwYAqz9qHZJtr6eylOgdt34382aIozeSJN22iQJx2lihf5n9hw0pDOn41Kbm/1gHc19R4TLSmPlPWWQ+2D8fT+3/uvPV+Ke+wIlbhq4Sb4sKTKR0UVYL3SpxyXAmYArrvNLYKfvc++lUfAf7ZHjfi2vOPLvZotR8Zoqj76IHrewXnPKANaVQ+HeqCUlnn1vuGAPwye935PXmuclS/qyS1d4/EnGQaKYbzxfKvVw3dnMlpBpbGFvVaCop4+bR4vEpr/z7iyqpyXXwaG/LOvJ4+IcAe+Oyt5G4yMrMl0DIhgNZWEj/K19NP2Nck8sr1KXKfhgrMBLnN7Y4hNbF0sjbHFSPJSKh32pAUQmC+mkgMkVycuJce2DDS88QNqB65a70ezreaP0vZRatkghuciBCTJuSrgcfpOxjMYB38rYCOmh1bd71YFoqOl1lUVGc/IGcOW4R4pAljOlvCmVARLyLpcBd3kOlFb9NYtJuA+MZLkuc178Y0bBC4+hcYlb8OZ7zyTospY8qDe3HWdXlM7w8Wda/h4estLIAMVDb6cDjHE7T5IHMuwYQmad+gt9rf91LEJjhloBYz2TLhcU8h/TsDg6raC4H5NqHGp29SIA/QQ2XJg/fWE3jnSNieKrocOQ0XzJKo9ktWTZcNjfOeOMHPrurMgvvHdRGz/ezhzUNOOeiwWkp3kDi9a2i/nqT8/86YCVN4gcY/BZwvORSkAP2H3eO7Bqbn+xSse7JM6fMa0M1Gmf1Gw4D56tiN6wKquPcB1RyEovXZ0lpFAQFeeqvcSzlmGbG895epuxs/75XFMGr9Jfv7Q1Ic2G1hKzBZTOsfxqkJ8LNeR0QhgrMbMxUorFrCffqgC/rrqWVksoALGFrNB8aQbXHZhu7YvTYmcVdcLDSWUlI44dMeT2z13lysVVLW8anGSKZp0TCifHXuG7KG+u9QQHOYj+wmswbVvuX0mGp29Phgltrm8O8d++KjZJHNsML/D9AoKD2SBs4m2AVy5HJmv42NMETQILUxt+ahRkA0DB//GS3ygfE2PPGnNxxB/c1qWvcsyeuEkwX3ZPcn6mdCW0i5GM2bjMWQzcdE/W6QJS/sdCm5MHGSVTwbenq1ROMhS7t4JPzRfKai93uvh0wWnzPkbuIEpKwTV5OpFE61GmSz5HvHmPt7KVHF5zIWmddHkCp6oWorr/u9HWG00ZZ5H56s6OdOgYCaxF167n8uKRAZXhB3nd0vknjslqr2IZKcB/9P7T/kcL0kNWXArjZlFrg6HHgopMa/ZX+9z0i/WEIxUIXpoqY1rXBCpzaapEF2Iycnd8kbqA83RuR9wrsll2miDZTpzVRkQYR/d8aw2XsRrZ8RTbyksv58JHMZC/LU+D1M1crXvvhSs6DShGbC3hFX6YKmhgWDFygGv8QySCb7pHMDbgNbQcvXp5ADoZ4kiUBwDIKaEgyDa3xXehGqF7FnQOOkvYcUU49ELWokqMwraXa4ULMU16ZOG4L1y6Mg2aHzAybIepWhdGIIqSWiifPRF9Whn36i8tvHPC+f1svNu66KueFEgRyLCFTqfsMnP7Gqqm9L0VGhv7q4RFJf3ugzv0E0DkImobBFhNjxsItnXGWXRzTRsCWFOMycSIKrFCbRaADykphB4hb2PEthkLYFufWEAf2xprza0xsoLC7Zuc/UkYTRF9Iyf7ugGHBIQf+AwNgo+cyB5wgk6/Qg9zG63j6QAeZzXOrws0zhpmGBr1v/tkY5e25xLI/eXGaMDTiQV9iz4iDmTzOhMZb4Yfv10XOHJCIQqZ1qtUdVbEaj+9Ph5loPwh3qE/c6WyAOvs9uWTUC1t35zDEk+WzrqqGsEKG88ldp/ekbNiDrHxJFHVtnU8a6soxmh4mV9rHTlUkhNEh9QmCrCM3CnScB09zbnItrbZb+mhrfZJri6pbAoIUncmCe/K04ULnjZvfkBkgUfxt6315/p75cpWou7o4GUa7yJLMWt5LqmL+AJqrcAFtFwW4wGD1vOZ9Xkn5ey6+62xAhIVbocP354BUiNZkSvO/uWZtBv9RwzKMjbNEh0bLUMR6gJ7ZitfYcPqo2+4kapbsdUIIrJAm3xOfEks6TjpgaXISPGn3AfMPg33mAtW62GyqDGbrk+kVGkCber95xAHscGhaiL2y9zSMG0Bq0/SUTEHyIETdjN0r7D72Ng2NYbf3jUlIUHMYwA1fzXsVk9MDFz+rpsmGxyNtRzjA9/w3kkS3/vWPYejWoRE5sBkhxtqTnccd/QpOQgRhiWwLO34zLLvvLz3wd1Fx8uc+WBhI2gLLr19Gzsw03kFXFn0u0RMvS2NtUoRdxh33lzCDh6iwGbWKOIO2uANMQTXEg4Jn8IqUDOyCHaTFKEvyoEPHVwEw7QvkZdzjHquuodvC0Bax+gfoL0iMG3Pcu+tZB9dDAbTPJyiOSGz6plopoFlNr6qhdyHz9YbtSNoeOyu5m9jPxI5bub29h7F6mV4Kdte4RT8Az4euh2VhXPt1LDagxczjmMJJCnZWIjET8kXlco4UBdsuMMYG5VlRI7WOQ7dpBqVnmEJbrqirb4OH7vVGn7yFuHu+Htg6T3HykW+7B37oSpkxFfx8J0IotaRDOuAv9gkB+rCzMFdvf7jjofwL/EUK0Y2toOLqtyB+XQmH3Fu1vKjv7PFANRHi1mdad1sO1elxGrz6GUiw42xfEzoPUAAFLrj5G6w5YQ6SYTrvYKrR3tI60GBN3vfoRxy8OMpBdq6aqP9ZsUvrdH4VcOTKvNhgEJU9cc5fxZ6z1zpiLmwqC27cTu6c21BLY9FMcx40piHm9yg7tKFfSnLRqDvVfqNgxG8cQSNRGE1rM+01ZEt2T5bWGrDysrlapuReSFVfyEuZQEfBvzPDAO4zBVTCR9IZ8MV7zHnT4j6hd4LuouazBKBn9cdQFgP4g7Uw4cGL21QmRvNoEIJ2pmPlSMFjlP4iJt5BawaszvZOg6blcCaPqdJJaudh1sHphCJDiPNti+Q2ozqqEgP5bKttqxKgymmEF3dg4pAjLhozmabI7+IBBnm205HHK+ViOKdUrCceeXfwglvGq8yxvkjs90Pth7NzybPXGtyYDLazOcMI5MJOWOnvfHziTaZMvuozgknZgXRYGbvUdEfDVpJW0BTAHKwD5u05GykJ3s5zl44uq4E54e46SrwdKAiBaX04btsrINIvAoysH0uo03ZB7RyzCq2GODBLm14+qwWC5lp+xolnBwtR2/ceZesYuktoxA6o/XlbmRJx7sX4CI3+m6rVzyOYDmJaJM5ZQ3UhUVHOtKKVyJquNnEg7pCuHZwCbpaAv1wSf3lsPR9sChL2XaGanI50jLODobvPga6pVKghuGkerhIRE9ivg7v9KJSY4gZ7cp8oENQLFADX27ttxdgfMSZcw4BxUg6lATm+vNkkB/qz1nc+uPC0sLaAzCtqzlR2rbgyNkmCn/HTzQ/4TuKuBFPdYrtCpLRwzt2oWfVaRPo7stNifAqNRRqDRSfDEPVv4Z3o0ERDTXvgmH6Q9p1jCoF6rekWVnTqizUESqk+oxftVdakt+86cQxDot4x5I0GzVv9F1zfn9lkgPBRHxCpn42qA0yNv8ytZZy9huLkqqW6QRpalmCzqO9GtZt3uL5mOhPef1wjZFiVLGtylU0zfO3tNH/IGCsNJVGC48rwoDTU9mLqjKisNFrkt1I9yqmbc0VmoxgSUNdtNhmuwF5XMRP9PL9FbvfSXgwZ33lR1jXZbkAwQtj4Q+AVra0xPfvsHkBacygVrzHikJiUdbJPOupOpZlDckpkn1pU2FM09m10v8LbrbWxNx2yba+ctop1uucL2sl/LqL4hlAePMNGOVwwHnW5xaOL7bVwFck57t9oKRUB2bW6vOWHjFL0R0LWybnGcCFFqgIIzHJ3DFBbQfXL4okczmHeBDcJO8BBS4o/Nx+YkXltqntHt1mPiyXZCwuj0AMlLklFiCh6h3VaDv1tbfMzm9Z99c8xMCqYWQGYoORaZw1DX7joMc5Wg/HMdDNL6fZpRWfoyMP34kwteQXxVr8YhDYk3x19LBchPn2ull59S9+tw4TSm1HZL+MjDqcfZ5+KCTmekVbeA3uJYoY8afvkwPtVUjW+N8iHW8c+fKmpfPlAHU6ZtkMolnFxLfA6WswZy6YrWTjUBflTrm1aPvxd1DuV1WnWfrZDYAnkH7GuW6sRjoENFbUIyWAB1AQQAwfp7FfdKM9eI40tljEOndIAS2+Ay8Yoszi/xoBdctB19+BGlLszN96wTmvgR9WidFDQY7KKExtr0wrr1HNFuZKgpQpMQtSlgjm3v7Uq4pJZE/16kEhfSOsqYsW7xhIbtU7ugMuFkE5LKEHGeLyD0twVfrQrzZp2Flk2lu6xGVeT8PJAZUd8l21vHGc/L0vZtxbsc2iggJABjx5lBMasRMMr+qmPco5kQOTvpRUKlEWsrEh+U8ZtQKAhmZjZyEHORhWOouejsr5y6stMS4jFHs9yKQvWsIwgfv/ek3GvK3IiWInOCDXMbZ7hKOTg7PHlAOSU5lUz4nu6Il5nYtSS2V72ibSG/cKAC345+wYX6bzWmzJXIcnHxN4mcA1aNrSOhgju4y/9tdZS7/KikxR9lbd5x19mUKyGn2j8vZsmGixbKPb9wSbB/yY1C3ouqCtOwu6YEN1ZyTg5Gxu1RcMjuAZtWh+7iy1S7Gs8JBhsE791+xpRkn0hFMr3ksWiLWSOaj4OEDalv9LptBAaCKoHD1HiZDAhr567v1w8FnlHJM564C0cLuqe2Z8bjVN4Um0IpX3mWTzDKc5EfsjDB3OIULdFa+ImHj2AsImV7kfgWAA2xLPSipau3BknYqkVJFJI0UGBUeXy34aV2ZKXpTXcVrbLnn6hdIKDTk94aMPHh31UpFlajIkVVfHGbxzKEHEo50elLNjwqokIdfhwg0DMN88YhEJfjwL+4+bNyXgKmXOZKypgb+uiHYiVKVPy2rB+hjGBmwVQt45MiAx1H/8fTj1Tfxe2OL0+8u/eJzoXj3hf5Z+O2rWINtyjGE9+N6nLvXYQ7xUs5GAhJGuBR4TNdKQoDMjUX1aACfikXiHLslGj4Axkl9hGTsAb/cAb9Tzz3O6kOCIYpqK9F76ITWpSt6S4lvRxU7drUizuOiYooDXAOqYKqvWp4EHiP+Wjas0qQ/Z4q6o8w+DebhfsLIuKTQAsN4H2ktwqOCuT5Mxozgu7xDRbZASPPmboJ0AXHUnCRP3osRyWcrIyivcJjTu9Pb0apbDe02wMwDBULjTcb7TenEVA48KcqO14CBaf8HYD+sQciGfwfjmFKc/mzUAhREqBhcImmvDIIwkeYkTne4nqJkNS47O24kdtswCj96jcFDtIiOIXieHiqJbB0qhoshessLILZRnf4OcrXx/mqiyLwnOzWok/1EzNUH9dR+X0Bhx7EY+fLBxuPjdKODvY1gjZZmhPRbx2AxDMbjcRF7qMXDGSlSvXG/zXoTYCUcyakmTHQSdMnD9N1U0lI27TTUwLY2rtkQkKegGZ3e1S1XsIlYIxaYubPvI+vMcA1m8DkdpJ17yG5gYfQVjs2JxuClHNhlt3Ve9dP/5y0C9hQatI4FgsbRAYcUAPLI6DP72Itl1SJFoJjxftEiu1XS5f260GQ/n9U7ptyxLmayDrDV8BSNc+FDuW2qikb/dscDsc5nW4NnCP6qogWcck9OKFG93nY9StPBaCrxqIC2e8cbLzlFv34NjPyMlUF7uGcCS1Iowh4F2YZBcYppR8J34u58bB9XrJufVjOnQiCW4KKWliMShv/c1xa5DDQ32PIGDvj2lohHQGnpHe0QtOFHz6IDCebV7fHHE7RiUmxzCmWSe9yrhG5RgVN4B3CGuUBewnW4UYWeZOPcJZxdpfpE7nUGjlRVsYFadHawXsbsLypHlfZaTCQSfsC2ljHVvcRocOIdGxK78fsbPsJ+U5p0pg8IlhoodnfTxcNvzvqKRF0yV4VOXTfFGAtVLMmjeJEL7WF02JOWeYlXM+rMOv30kUc1O+ODP30CbHrOhHnKc17p8UGWAxp1vgtGoFuy5R6k4Mg/tSiG043VqLEfAdPgkrR6EsINGhPATFNRQSPd5vxoIdMMVnqdl0s6IKWQr8OgAzqJQdvpNWG143cY4Z3x/+AQKQclOmgaacjCKJ1KbL4aPNoX51wh/3JZTYRrnhpiYeauzEXxE59AHHmiRcVzuj7f3RhG2s7GaaCZNNvzu420V/sWdb3+qYKYbRqSc5EncFPtbOI1utoeuRrFLgXGXEZNrLgFrbEKsGZiyTUjppaxM10FwI8bjntn2Fc3OLiEXMBzHQ0aeyTreW8tg/aLQP3ThIkoFdTkmpIro+edVx7lJzhHQ04x71kKSFAVq7yMij3GZL+7x6mhwPVbDduWAskdRDZxkeq98c855Zx6B2l+NB77rqvogLk9U9wmYIhYdcEeHc4qxgUgem3RcvC9yHdbDP7dSspUhtJcKuJIjdNi21RyzYu+8VdivGpIY5TM7FjVtOanMIKUg1miyqRswyWywbC66iGblSR+DC43R+AjlL/APNdHZScbyVOtwURU9sZ8H5Mfqf67SYQ5NBRGvU5+WE/iRciszKmXSLymjxbbnNIkpR0hAGIZTzZUeVuUOw6bLZlweD6rZ4lfivhFXPfgx+QP8w584LO0erYZBgODEsNFpW40vJdpvkjXumGW7DZRV3G8fQ4H/QsecHGCN4A3kJOExEO4PGXLnHnikDo5ZtlUgyDRNyiY9MUcFg9RrQIzMxop9RIP+wiqd//kdS+4xuFLmQorH7fAXSUWjEQmIroqax0HYHXULOeLIj15w37lUCO8OWePlgWiQpomQN8LR2fzP4umr3UyhGr2dDpm0jyzBHt26s3mr1KiZkq39gcRzwxD/53JWs+e9ghlCIvQ+PmZ1Ptg3g3uhZ48BI/tNXl56EQ/vZHe+EOc7xteFfqQwb0R40PX4z7cux+R4mBy2OfwWhu0J0bW4nrkKDL3woSyEzbQ5BX1/z0mALM3/8hbES1Kx/uvbY6MCcPcNfzRZHSFr8k+Ge98UfGNtOsU7/HnI1h1gwY2rZ4UbXesJ3T9TE1SC83MlMWBKjIli5v3ugAUmGdHAXOLOdzqDxDf+TRwAgGPVccfvkXyVzQGj3pud6AUAx4/xbQs1KumB9ObQHV5juqn7zd2VO3nW9+a4w1R6gsFCAh4yQ1ov9Ghf5zMe+uAK3rrUUOcjiqnorSdPNV4Ddqo3JKycvJkD1UaKwMmt68YInLmvRqpLEMdTEV7iZ6JkbctnuTkSrGNGdnrTaTxtlVBFFGr5qiKZoXr4aH/pgin3Jz8jJZcsRpvAEIV5sQ2gKMzlpXFYqc6cT0a7ciUg5fYIep77/5QEFlRrCk0KYOo8VFDwLOODRFzaBAh9t1d7gBgeiiwsW+2uwlQnoE+4ARH2e1AJ54czwKXuzJ3jfinU9s1OIE0kTUBrnFVrxas2cXSA/p5fYz0+j1M7wG3jyjBpA2Hewwt+EIYT7DYi4Q5txZE8oLQP45LzYZKIuVjgU90Z0/zep2YKPTDi4KWWpUIVQ1uOiDgqJFlZ3q2E+MQwPPSybvmsqChHDtDM/yvbW3IGaIGcf6xF0neAW7c7VczJqGfAs2Qw8ZzXQuNfw5NsIQowIlUtLjFZc+NXqBQPfSIaAvqm3ySianXBtZjEGW1xiTeHt0fFPa1Yez1xDlUpQXOhYv2a3alqaoOLXCPHBx77+wtD45x4EPbpG46B7XBJkOHrjnyITsAmuBwYlqdxb0gPZba0G3JECWgr9RtdJDbLMa1Z/OYZsMg4vkDCE15ihDsU50GWc/Sv2gc85Tt9sPoVwrf4QPeT+vXDnmfBlsYDVOHSDo/sFb6PDp9Doo6fRBuB2GsmXz65382qiu+RmX/ac+bdY0pBy3PuoAQkuAgmpRj/l4S1hVQXuZ+k+MneVecmSL8Agb9X6J8PfyZD185A0t9un4SPu/eu7fppgTU3NWrLHRL7YKVvryYzthffTF4ichA/X6LwaBvEYMZ9TXDHD8nAR3LoUpTEjrQzrwJm/zl63RIj7Tpv/QXskXmLsOdoQPaFsTCocIBujrwoE9GQPRDG5/2BcEiQiDATXqg9XC4ZoR7EJkfSg70sdLr0hGpQ6Vma2TKH9HHskYMT2F0fZtdUdabrRMe8j9hckZ5OcTEVu+KkG41t0QVJvb7Z1xHwCM86OFPAChsbPQG9mFTVgnO6xKfzUj+d7Sal1ONdYOf/RRu3U41ZezaL/dHmz2Jq9rZRqoRPqHyDlBM0cBu1m9fJzgNiOOhob66EWTdBhueF+2ZYNecfD7GA3I91ZwSc6hXoGKhOpjtZbMa1qKrYe3dLOrp6qK4/UivHEAi3cvF2t4P6/hZgTqSfb+oqxLlYJEvQUmlTVcUzHQIrbxGLWGX2bGWOISL/fXtW/uso1VcIK8CGrgcI5RpXWtdNi8X/pXLM0SuhKAELuvYPEB312caEPToQlIQINdF3mON0yEq/CzV/8nRKtwC9MUbWR/EneKrTGQxhbUFoXgkFxDsL/AiHw6jlMOHMJte0L6F5XiJXR5FskyskXhFQl189QK/RaqBDSXqckNxIOYb2Y44JOP1nJOCE8CDZIXNNMrvgYmBZh60iRTo7kl6FBcEZed1dFoMg6DaTIgE0ROQya9/81ETXqQuZFCJ2qN8yKTg7aCq8EMtYhHjBDrRC6D5h89l5tfN3+jhVEoKa2ZE0WFNrToZ+cCXTDkRCi4DfG2v6rW5PYi3hgPe99VxcOcp7bOtx9Zj17HgU65/5m7c/5Gdn9yNhuNRESjUHmYxEqIjTOAsgYFxkLhUfLzihwO8Y+OQqm1NDQd/mN8XdLlPVLvwbbPPmdNhmzU3wqkoSb2ntRvaWPHaeNLNdAaC3xnu35puT+g+mwyYto/bv3VJgkHZsh9+QEXHzKlIIdgEUJ6RvJc6BD8lD+Ag1UIkul5ef3oLWBJkq7rM7s+P2Q49c3pmOhFRbYBhqEwqpV1buosGb2z0zu40VM03EaWyUjsMdB8vHc6hUcmhWdObG3QyYt+3Bcg3hiwO7/WR8tcDLTTcj1scRSkIX8O6dPXhuFCU0zSODOvVnJs9fBXOm+TMJEIi++QlTrPr6Ydjxlz5sDK6Xw14gtgi9OxMqrrpBSVOlebIOelybaT5jP3o1Na+2SnmzTi0lT8zmquzETNEFU9r7l1mLyz50okJb/4Er0gATL5RMV/+dXpxBiUjsUTMUx1zJM4rwkTZwBrdKOBMOV5LfrPpSgBaiW6QyUQTlvsFFOHUEVBTXKsCuEVxkMzoBFUfSHWNFRredb+l9Aida48Z3FR6hYlO9Ksnr2U9myeAWXnpr6C3ALb5CHJGsC6lCQ2nv1ozt0hE9DZ+AU4x8OD4lICh6xd8jdibvFH8amJ7xcC3bcXvaz6lJG4uZ9SJ2qvRvA2uNPXuWqbLOTT77DExzE0Ps7cCWv3QEqxdRsS4M6NI/ItBa+/r20r/xysAvdR7rf9va/G1iK6m/3sraiSxjkwr6Cik2Rz4kti18dXuzixspL02lgKUlu4RlagRhN7ZvaIldaDldWhXpAz5eatCQQxcPi4ay0mK5bDv3V7d1oQy5wPQ8JTt1Kqt9DeQWW8jl7T4mpSOGa2FAkNRBlHQ25Sl2oLBRMPDBVP2+Sctl9+Lv9Ge41chdaugoyVECVQ0iY2YY0Hj/q+xgjaL6KnznyfX7/sKetEO61uBLBXySSryU6pzm8HoLrFH4/q6tER3lumipOsn4RkBvslymg799wPESQEYDYFBUNm1chFie1/rN7xdpCjdcD+yDGZnNFxSUHE7p8XJEgTrtuaOaPQ416bD1IQJHrRHeS28Ert0H6JMrhkYT7qrUySQvn6vob9jVPj9dS/1Me2QczbV8viA6ajJGcZR+rmlVYl8LgcQWZazXUcev0fqry/1RpQy2V6NEb9IEugKPT0lq5Z4t+rmwMMJvUvl4VeAIoiNWIdc58j0T9jRtOZRYguA39oRIo8g9FLdeiVus15/zejT5rTwEPraLjvSNpm/Nl327Rwky2hIMknWBL0KuaHqVGhyb85fSn7KdE/6iWXBDUKpH/CmDhOw/e6S0fcX5Qtj2WEx9uabi/iloMjRenlEqy1RSXwIbVtUmfSjZ6MLsYPz0UqZ1BxMN2NqI1jFvPpRH1Dz2NcjrnvhP9i0rGgoOQOJkE8mH10pQJBUhkB5dqthVeEQ8yp895vDy4J76E7QiD6MGvKKYOeP0c+ZsgDzyN5AsnXjcXmJ8SEJOOBbVvwPR7Wr60IhXBVDLa2wRRsRcKJvCFuiMGNn6IE49YxtzDTzo7YoTh6Yf/rAmQFEO42GEEuaIgBMeHlZWJoaHAcpsd/kjf3J6co1S3/AM9aLWSTFeQ+35GNtlsjMipKuaRpdEMhXCROLITFB2EBfi5TDsm9El+OPVNYnWuj3pEaHwk5J+ypfBO0WpvUplc2FUdp10eroZqGjpxxQC334Opz5O/FIOC+FDF7xTVDEKdudH4M4zYpnocosHkyWUClP9tkifyZrUlB61MYACQMPBq87Vzw9+kFDp+X7XJTngqss6VqEtl6IPfKS0g3+phPAyhIZJR1S4dVNgwG+l+EyAvqPTFCvzIX1RO+onTnG58MKrtUdGKhMyLKWXALQtn2oUd8pP2G0Iv976WhMI4Yii7UJ8iHSRVZc93M88myMzoF8WBV+KIFN89Ghh5yarHI9NxSnhJC09uoB4BsDRvtASpD5kDoPr3hr9xQwHth0z/dlLfE31bYRk8fCQ41F1eGIwJsYkXxUMfkUwqRHElDy38qVZGNsQdgkly6KM7pzWmIDNrP96hi2VuHSFv4mtlkDfQwAsxK0cdxSkw4gRZ3TUe5GcUvb2MxI49cSU3PjzkmdeQ03tZ8Tm6sfTwXnXQsIG2Aw1cJikkixwJq1tjLCLBxQsetBwGbdghtRHUFV/7n5ZOtFe0raMaz6FtjPl9uIEc/631ARjVvQJwps6tP2kgtak7yAfXE4XPRNc5NYB8wB6hFsSUngm9v6rLV/bnGTMmiM/rdf8Pxjxdj9qTdyVevdWJ50C75Jx+BniwJuS6KOmfWh7Ml/vzQkFbBNx81/eqeA6auwlWeISoQkvqlD8qp4iUlgqmnSEkHVxqzl6StGoe64Rj6Jn5mCc4QNC4G2FOOPkvpX8ibreTzij6iOrc2rwIh1BkRqpCMnMIiBmHB92ycWByFgKNzIHl3DV0HF+NvJZ/wZMkngqatzPxYn+i1gAlwSR2AKmHV2W2E3WXf5Zn1wU2lFMsrBRWS0I0Nd/Sk4+SsnkVeziPUXN2HvkeeW1yfLQhfMTDYXsnX4f1OqSTdMyfdkFIlZrTtT2+wXn4ZReAtCJsoazpRMngRGDUO/tPb/yFKnz9H5qHpJXD/r6QNnRin8pGbs5OIFzsaGts6Rn1feRjHx2JLjckRS03UGXMWHcCl4Qnx6qwUHfrPu0UTzSGQJNo2IFaiHp+Vn1sGKHq7WthhVy2P94hTSBXhCywYMScwLQE2cosw/WhQNcx8hZdskq/UixfVW0jOKSl5De1NqilMHnsmU/vAhlYggg+6W+MZyhyjwmyJj+L/VwVZ4YWON0k7N2HVNkKrZKda7zczLqjYvaS/axtgGRNx2I3X1aHIPXawXekOduXKWxuB57cSqJ5sIaanUi0xM5TAR7B/t3z26RuLOZXwgKXV7/4BBdL083fMEmn87IpL5NxsLjhCtAidZcFZq34aBEw//emjXq/IlXK/9VfggRD75UZCdfWMF4/K9RJsV0yhGfcvyOY/B2VzhwY65VY20yGRKwbMwtlykRzmYJIDzWd5saLmh4pFB96EW/nWZ7jrHB2dALUeSSzX0lpXjLUaRciUzDiHqR1H1I0n8qUTevpVAkkfWBEXFArn9x0ZYcXvpxkLc+n0QhXEY41/7CakMYcu16Kb4Hjdxs6ybVRqQ9fvFhpb1XzkDaRLXKZt50aHecOwJ2YUBBezT6BiXmL4H7TzvxLZlPK7ZnDskHn/HT4PF662Mu4+Zhw9M80NqCB4aftYVxwA5RNuM8yptSkFX2JNCdDN0rSRw30eSJZCPH5H3Aj+pA1dxb6YxwJ9pr8RG+MEnoxBJ394BoNUiXhqf405f8+xTp/B6q/jr9n1mhpcLF/oYVN0Nld2TMIHlI7zh0AEuyoIkkwW1dr/Nw4qxKCLXrFH5hnHLrsxPLpnc+qTnLiOxS+uJYisRyzx7v/agYJgVRg2l3AMCROtnHDwszrZjOy0NEYQXjmlVldyevINhx1HqRoCkXscpgLVwYgzS/ZYe99SOervjecon0XxpcKibAIU8F7wVCChaHWjedTKKOqciLjqNP5mg+4YYmx7Ae9zSXlzlKB7opJfGFoOoUpuCfv4cdxWAxU+M51U/1CE4+H8WHCbyLkR9XS7g/4I1u2ZNxwj2JkfNdrMXch+ZQR+kwvUZQGRxuFiMkaYpqA75ehDY5h8/s5TCfzTtVgBC8wlYB0g1PnCPb5pIV03PjBGlfUA5oFedUkQtzXLtzpp04sOokqi54rNuHCT+KwmBi4Gpgt49His7t4K5vq1GYEELyfr8KBC380DLma7VYSgXEvP+c2Fis/m8Cfp90My3Kn1KrYiyejPLi3dnuAxXwuB9AVK7taYgGiCYefGh8AYrHC9KElSsH8jz0+SKa1Z259wQcPqETFfVtgIr6X3LMhWP3mOa1FU75e3tmL97KAEUzc7Bn/2QEWVok0HL1J3lVQXhoytPv7c/mIe0Peb8wts7Utb88fYkEu3V5tFJuElIl+jenYIrClHqpJokTRl/LI4+sEz8hJUyAEj2GgdK79Qq7RARgrg7AttWCyTWkxyjR8r/t6O1tSILyA4DiHGnGert+Y1oq1/0/qlxEuUMORyhftuORwNNJU99Y9odehMyA2RTaJhQGeFlBtWoTvtzAAMMj+S1krVnzg7cOBXKRCK2G9P+x6FsnxaYOvrRZjvk5dJppmJqoUWi7cK1lB+4/8sBVb3WGMTKXcE2HYu3FUCNse1/NugmK4HY51+I1sZXuHfyF+ADMnDuIaYbXuPR/heFZgN79LV4Hz3IaSB9ABmKWcUF4Y/2XxwfTWLMvIwd0aW60Dser//mw8ZKZ0aGIZ0v6XMj3kPbw4FWnsiO0o60g7EVIEX0sdUUiPpJ+X2QymCsqEogkFykdPk6ETzrZQ2G53iPJDiS73KtcHOLEcozz3Yfqj0VakTa1VrIQXkp//UennBPEzt4KHga++A5bod3IWxs++rHxauD/yzhd2JrdFmGvL48dliB+8Q/93KX+gz0wBU12XxScxduD2Hh21r+MBdtydotGBW/gu00obWmsRYua6EdRcYxIrH23/RHSwCYTuUlRJjLj6gI5AkaVIoNZNwj4gRK9bDCA56Pza4ypJO6NCI8T/PSr7M8r4Dxh4veL840AikPiPaqXC4YOBdff/PivsVeJbxpK2JqGP9Wbr/MGtPGKJL2vb59W59hf6ZvNWAk7Prgr4qgVCwrETcRevktftc8a9ku4UCR2eqfz5gbxLo/DgFVuloT7ATJhI6D1TPzmIcvrX4XAE/ZsbWgAmkoPfYYpofEnF0PhocEvLJeZm3yHbxdRU/biwnTYkpvRQcs4oUEN4g2wJa20AlqmudkjJGNCAAbxucN0qK9xkWaZNRlapKZ7GGLw+c3SgZIvw8gMdFVFJu37GyE1xHe0+V6z6evdT12mEFc80RvUWnkuTyhrhokRp7ChFuWwCPQkzUNvnWwdF1l0d1b2/+pzwCQlBbeIXWesHpwg/0wRwvplBl0A7KU6cH7bkKLpzGF11D4l6g8da4WpBzRP37pg8VaqsGL5IgntklSGwdckBxqLaoRlElbD0SpoYEvhnjor9z7neIn3PEF8057aijRWDcj9F4tBPAkAs9kds0eEMc/z6BxkOxrkjFJ6r9q8cJvUPGTGo18gPt7Xda79hLuGTPIlz9nLC383dgg1PIjDRPEkJW2nobznMyc4OvCql/+G46fcRL29Es4EZqd6nXchFNp/q55AbRwDBRg+iXNrGlzz1FXRIo+tmoaqn7iMAnkxClSLdXCGq1lTQLb++PVR3K7wlhg/IIJsr2QobrPFgVgr6kwheP8uJKKMjQNDPiM+rCCiRV3d1s1E/nFpE3D0s88zV5mAWKNy9crNP5Yp00e352azs2doQQkIcqU0mEV5xsXh1mqYa2LHobE+TSgy9ZHPNXPv9KEg38M3yfBL+Lmz7+/NCyf5RW9/JNsCsa/+0Ocny67MShCCEHhKHyHyBMz2gCZyTRJ8u0WoamG7jqignVsT3r1cZYX5P18wYIPIkPA0tQsGiUZUo+pwjV9SOUP7NteMWaLuFU0LAIyDKtpFP4EwoDYJSUL3ylOA8+i44tB8lIpfH4JWXfDA7Zp63Y1Pyk5nY4QG07FN6S1+93Dr21Lq7SjgGvFhcp1a5IrKui7g8AdLb/bkqnWbV3cYFOoXRUI6UCU84fFmrLwG+/FtyrXcxbxN66nRfBI1Wdu55P7mgLYzsPDWvfPLerkZSE6UurBeSrS4viiXh1LrbhCRFKXR0aLhfFolNBNNkRRG6lInolw/FBm7Gb61B2Zw9Gh50Z9ev2+cvunT0zeHDSynPkOfbOjbJi0gedAZNP3P0Zo23MrJUOlxcMS5sRj6HOYfGi1zBo3hRq0zbZczGw+Y7ChxaJXncZ3+5a2FHcbU/DbyH8Aapg/eAvI7NpSWRzZshLu8R8yvTyV/ANZzkrGUCmYlojA/w57yeQ1Pwh2K6l6jPaq6HY2KXzlb1KaKMb1QgcmJSEEm/Pnn58//neonlaudgSEA/ZXjd7oWlz6JZAlQL82uhGN3jTQmWJ0lqAIPDKnb5H1/lbgYyZFqsy0Sdqp+qn7C32jKuh2dAzXb/5YMhBILWCPVNPhjoDDskTmxoE8mKX0seBftyoCrau4G7TPsK5NjiF4g0/9sC5IVV9HsOxtDDM+1wZ6lXm7q/GrJZcLwxSmy3w1cul/xZA6n/VolrFh+ceYaGmDV41qrHThcHVJ2aixyWJznbZhAvszGiKlTvR/MokPo3F0OqxSGzWaelete0s/FwdvGfwYeQdWPnEjC1XxkLdX5wDA6Aq/kOvh7ih1m6VCT6a7oQ9+jCdGb/pxtvh4cUoJwbBw7g6WDhWikgDgZknk9KRBcbNJXw//n5M/Lf2SF6qTTjAVed2HcGi2+vtvzVVgZqWEe6zk4pAmUOm+SPz4owyoYDB/41DsbdqkjghNbmaEdsFhvsDGuHiErwS0D324me3p9HMFWwg/i57KDWnqsWRyyGlEkXjMmxtm8Fjt/Sa86MnqQ+i+z+8dVvRe8O+9uHoao8e3yl8MpMGDX2pzMZoPcI4DWJQDBb0HepRDJBKAQKi/tureCyAgi7SgBD7RYODaKZS5SJLuCTOWrv7t8HvWI2hi+8a1fhWSxDbSM1HX0M+8e6E2Nf4zeKYzhnRkg99YY24WZZhijIud3CqJ14VP8cpfrALbUKtMKKs5Y5eTUwNpvcLn5iSYevm7kudBcpOgMe9syr91usXFclpKabSxDAUAxYAQ11zxGS+XLHGbTfkdfPIub751IYtEOKg3I4Tgqq1JPMqxV46NzE5MPaRg7rERzffokjlXBN1+dmG9fzVMQA3U4hKo558yu3nq5OoEc/iFRoIW0ZvbnLbqIcHS5u7sBMtt/X6WJcW3BporP3IExRdwQA97Fv4YyygyzMpw3k4VzPtYSr/5YJcdCODghri70rMk/V01DccLBYlT6CeUFjzfpey65vu06zc0Xqlzt4AUcKoSTWc1y8OQsv634GARoPYzlYJALBn9flyKVg46PqcmNDAk+LM5261YRPyOyxare8OpnMp3z7ok5/Jf2/tJBRFraO8CDoHRdzw++qar41frt4aAUJlG6feM/CZcBM3Cj9OcJs+ZcsCnzZFWcgw/qsaNlad2HIgWVsmbaR9pqvqAsafjRt178fZ53Hz0x212hb+zx7pNx0VRj59pDyl9dY1g0wYxyycSxcw1ePLRFtx3mC8RIJyubHCJmI/L1Yiy/hitzLlGPurkz8rc7kqggFxO7ZVfFyE10Ml11rhbuwV/B6zUGasHCb2TKiss2Cv8VYkjLl7h3onm8Z+dL/cVHaRRnlheIkfS+KRTI/0wmA1wDTfxPLxuLt/uHYXeHRcW16N/qA8HCmPs2xWmtbQemS75yR8+G3j+vJ4YaP3mkLplp5logw5N1ts1Kgq29U4OK0Go3ypNPhkF6+E+nN2He+G/uYJoFBpOImr8Jo/I2A0a7S/PdpB+KrKs3mphrnmiP9rPBV4Q91tRZV/LqngtSTPU0sY+rjX4kRs2fbQ4Dt+YYDoa2OTDVuOSgFMnaqBQnmm4ol+Hwj7CSgyPK6Sf1PlAZntPsA4Gkz6ndN4gOqsaU1nnzqYdYp706N/rmKuIOgdprvgH5WxuF/yVFTXIaf8kvDbY0r/ndQG2hHF06bSnL7/lGM596UiYaUxCnZ7fALUypdd6QIsFukw+UqB65x8qPSnCDEcG7IgaP8p5ASIp/ZT4qPYEKc3z2/e0HODC4AglB6gGkzqybF3Bf5FH3D4VrC7T528n+U0gdH4BK/F9qXcxVGMgemriXnoCGNWCmpv9S+eewvVuCwjSGFG8pIJbYsbNJJlXQ6d4nF80Ztxlb/SHNGp+NXj6t3+dlKh6aQ8dBHqmSsPtA1r+QlSC7hBgzB7mitAzPb3o4AxzZAPQuukJ3UGFJ0pUAhWx1FtHmQI3FdbYyz4Y7JzZLEmZzwCHjuuzY5oEfgX/BqB4in3ZzM7mmWVuMW2xoiCPKo6p5ziC6pzrBIHZjRUR8LQDaOkKtEKe/fugdN55mh6fVKjr2y2DUMMP4gMyx+Afw5GpSAePnDmFnqhkMxzC+VGrf6GwlehAesagcLVextxEQHBn8tjHCLz52BdEz97aC8XDMFb19Dy4LzoS0HFjv13SQcps1ZiqIyajZ1ugvApL2dHmj//oAqrvLCb7WyHO+hwolWKC746FZ6VkgVzPqY/ACU8wRHsReW5yeAZaMdGYhRktytrxRGXJe6LJ531B4HGZ6y01gY7VNCDjXcVAGzOR3DgDCmWH8pxrVRaxgQf2lgLAtZ0IZOohq6Ubi7ajSJnuBVCZxsBlmx++7aknBEJpYAlvQ0GcLLtV0ZeIAsEtrTDzbNpKqEVyjZTYurDjRsKZsAvuWk7SPggpuoCuvp8wVmfCxt8MPxw6twIWPXj2ZPhQLLNa+1Bwa+yfMMi6n77e8ymaZm/yGrI000KnGIW96bpxMA54Ix1vRlajFwrrnqCazepE1UKmtwvOzcTQgldzOQdPW1pd5wc2RUvMCcOktyuk9yE1eEq0xKonN9tA6jKazqo1S7Z6Tbfa4et2Y3LofpbXSQJzzuMqk0Ouz9/QR4oerzOF2v2+IjbuixYwVyqC0YEoZPR5q+fPtnTHypYuYLP/bXc5M5jxg5C1JDd5Z1Q6/rtfGUNoicqYt+syQKCe78TKBnhZ2JHueckmRafQ4+v7s1/leXLhsFR9Hb0O+v8YfIpGKK0IxUM/iI6VbVqjsjTP4AroFCQSe27fWwFuZESySuHsM0veBHmeFQDp9/Aa9wo8E9qMSgbHAfAElf/QwJboRz6/rQor26puorM0yd6sEZo0acvCWHq0bxHC8kY1uOzA+739VtFwcjkWLPutosHfBARwDKuGRLvpNk5vJEwvCZgYVLIFFrffnQ6bGsDyvztkP8Wt2T1a8QhIucO22hJEeX0YaIKM8k26CvrXy5tD+dmnzeHZl07AYwqefxkCycLOaLjfXoiKUVEQ/1fxZ5Mw2QMjiYWHX4jmHQXKPasSiFW9VNePUQ0jbTE7RoQYWwPRYV+RwlSg/lt+BmVfk9ZmECa6wlLdLxuMN2FRgaU5yenVItrvMgDRzDo3vCZxQPUmTofroDa7/llABBhS6YqnWeg6vOE6GoU6MxPqrtKiEGG3L6+zIZBTD/01k2UMxNWxzLJrU36HYcLzeBefrYmdoidjU58TH4RuF51byAER44H7KeqGtprSPuPwiNyfs3WRqGtiJ5eWjtqn2mJswaIz0LnO8Eusw7BkQsaaOIm+IW1OZXyIubrH5Ld8MZFojpHVC362QUqFVJr3lZxM9zR043ZF7owyGzng4UGBjSb2adn4SyVN+Ooo+GEVwxTUZ3ZElyOVfnN9GtEJAwukHAEd1X+xvEZOM1a97Y8Qx8N/71p7ArtGcg1f5zLzrbbfdqWthN76UWOidGpV03NOX2y284YfKFEIpJwigpM9UP+0lCJW1vc+IvHCuQc9dZbAWOdh/dsduwXxgtpv8nUo44dIbG97qJFmAbEaVtA1zt8Vn47QLQaURDJBFl04hme7yjOwOH0twH8x+wkD3Iv66pJ4BoGUQa8b7c2kWOtWR+06FBj2Lvxn8CT6iFhBq/ZZ1fsQTWDYmy1Bp9r4lmKnRPafBX+DtC2ID8aGSI/VqoLpRLtbs2i3mHJicITi/1N4lEwLaO9nd6lc/kAkRDre8S9F6GsplfUI0HGWwQoSyqSTw75AJw1oMbGiff6rxy8HumIP4ogvFr5yQENtbkMs34w+zHeM61y/kkAd887clK3sJI/xevFVGRYxTxYJt/eHVDu4eVa+rGQbKxEKaF+Odi5HRJR2Cbgg6JsvgwYQQwCeO3Vvz3l40/xmeFJpOQyhGaPbZ4QP1orJF6uPzD4FS8y4RgFclYgclS2HV/R/UU/+VnVxYVq63Q7/9y9JRitTXOSGxT66dyL6F66EWHJ2nh/iGsdrTEbH63WZq7Dwo7j3m06Yi1rlXIipH/lLEpGWqcjRErFO1ezqarg6zso23qP/KMRgrgOBzOBGBzPZEl3QfVCBg4lRk0ff63I60/Hf3eM/oXiYASFLEOlBVHC2Om4zuCYS7KjJezv2K2LhUzyH2Cww/z0vLnLt8pN7zb+eyCWu1Uk4BbYO8tFUA7nPO6dAw6abK5nQw+WskmJswB9+oo/XaKC4u9TCyyVD2YY4VzkIuLvW+6l2rRmzKx0zp3ccvjxyFkYCFPWA1D821l0lsC2DYWe67ZducDK7Pwd//OVIS/mp8UIucYEery8yEdMEWlQvTZ/qXrwMC4uNO+z35MOpGbJeZh4NhNtESsYzuAYiMbqkwrym7Dq1HyNGvv4XH2qGysZFNB8zRRWmuq2H1aMRqPB7SxiOTzt/GzNVSVu3l9KoC5mAjSbgJLaOGACzTUuzCx/tRZVP/wN/WXyPLJYRR54TMi8fmVJIdX2SgCeGb3/8wNTwI8uVNEGdHVyf8awasO45uG7c0VEKoi79qMkpeQyqzWZWduUfoGuyWJdvdBoQjgIvvu1jwpRBWLS4S0z9izVvEFRsQHToNqa1HwF370ZhYTeoiZQ6Nb14mAf1QWjbGDk5xNG6cj9111gg3lVbWdNed1nEruP2w/ZVFLIoHLBn+F5RPvbR6mToMI6JZNiEb/qCuqUmUb6zCDawKJnj4CQVdo6jFAqNmSHcogTB29WfjcYPy0ScGb3R21Scc/YQm5u5Qjfk0+oZSh63HPtFO/vtBPjrosJo8AbOFXAYsPSH5HLqesxbiRViFnF1rz6EVU71tLAIhtCwQ5iG2waox+ct5QjEaZr2hgKHuH1K0sBMGE1tQMulo7pauUQ4SERR/i5UIRCD+ubp97imDffK9aIxMZX6S6y3JOu8/6x4HsJA3MbRFYK2JWhU6tCju7nhsCq2tdrDBTEXTb2F2liOcOWH6ga6jjhPRbWC9biJPk52sPHfm9L5BmwTEVnXvJFAupyGG/Xwr8QvpIOdMyWNsa7U7KW9wpMxOpx8mcIFHZFV3j2JAJoDBFxQVImeRgxcIYupa+IR0jQkNPlEz7f0uUgcMtHH1cdNObT3XfZBCL7dHqHUsgUPzDJTgwT7UlCeBarXJhqEOZzn4eXRH87DMFe2MmmLndmtAxOAXUSqgdFtcg2JYULe3x3azKI2XY3rAzz7V11NlvrbSR9WrxziiP8IgMq/Mj72BAKapcVaB8v8v55PSmY9tti38S/j8L6O/Yo22Z8waC27mr9vnJIUeEE10VMk4uiMyA5mbynwQ5gpubpVIzMPMBOKsbLpf+BeS6DOvHsDzANcFILbRkj6LWZCmFT6jUFc2l+gp66mW11cS/oFc26EJw5TsPdB07KpnkAwM6sCfEUvLijToS9gmDJlsv1SljZmUZ1rLYBiBVG+r3RmG/VepJ1MXTHet3km3USoTns4JH4nd45cUAlWoY0TaeUqU2ZmPjdNPALIkR6S1Bo/88fbh0+2jUfOyMGdsBfDdGwy/Yf3Gm/UVP4RRxpYe9GRRcSaidFcWnxF+fmcjFUw5v/XBjC6+1WIfUDBm0RerSWjlJ7e7/gbcWv+GsLyttCk2z8GLKMoB3O/Er6rAsGNfzs6FAnsu6ylegKK4dRukzXWD1Ty2PfseNQVirEVCU15JhZJtY7aru7V2E0KSjakVqJQ0Xjv7UoxRoGO1XHORBJwyKsqR15Yy1bjEzeOUyDhXhcFnWb1MakFKT7sb9EnJc5HuZsFKPBuvwQRX5ZoG9/+boAMzniNxgbIQX9bc9uRp0xSO3b04d9rDbhb8PtbNFp8bQgD8Eh8c+WpRY2+aG41+hbuRFRyzaBJCCWHBNtgCPtC7iozT6mRyppU2owIAsYJHYDSZXZMHqRMT2KuwOPb7419kk6C66Xrrvk51/KVpQn9dgdw+ppac7f1jjiXtAQIlixCDtdsFot1cxH65eaV+elduSdBThr9ol33Q21ZY+q4d+f8dThb6fFS+blpCmqnxMhlZqFcvgz2bNlv4XA4zzNXuOzamw5Jk2nGSiBRMX0Hl6F5HJ+mYBdxpjEEzN22Y5pM174w2dDOY4pPYwpK5ACDCnsf430lzpUM6EqW3H57niv44cbyMc6hp2hjw0uFh8Q0AvAKb0y3xtObnAMuDmiXm/ze/rPKP1udjYQRaOlUTGhDvhshZPUMm9te2gbrp/UNa2uBSVbpBTgszV+mCAeUpasrLkNee/sHoRn6Z6za7BNoMQdX+y2B6W1qg1R1K7usdUhGdjtcwaA5fgxIo05vgBvjyRTiT7ZQWt4ubLdNnY5pVF2C0Az5499M0N/iEQ9+GesPQbshCny8Wb8MTDomWZ2R9nvIvBta1Sx4z0/rRcm8vkeW/8FDj9I4lGuQOYb/Fdb0SAf1NzhY34CsPU6haJxXKr8beMHV57MIR0ETZdP4HXXWlbjqWMK/Rwlbsc6lOEwCqrFhM44gYdAZO5NpFswDT6at6CJfekTH4FCsVv7K458BiZyO2Jaww5CXX81Zd6TygoZMoju15q/r1RSY9dsSLqRbthtKA0hDzJJCBY3BedRzZJFO1W29Pl5hCbd6zkI/rQA497vTC44DhxSPFvXHePjzGYz6WaB9reUhBN7w1wiGsHktta6nq8A8wyn/19/yjcYyhsHQtlGxT1TckMjZ19i5oMisZsP5ZWXnrZCaGMPGS6n/1pz/UsYFInonXIMxMVtNgJlgLOKYfiOoERiXq73uqryY1UGyoXIyhZ8YPt87VIXbdCX5rWt1BK49n0OYFU1CKKxghHvzd3Cq8DNxR1t6FGBYeKCPYon8YvDEmXS994VPBajsHZmVXGDwHGF/UxZeoDBmfU8zzsPvhPiSOtrk1m59UaU+Xd0kkr7Fq5KAwO8mzP4YogL7WYZ9UTkcZvH/oy32ViYEihfxfISaT+AZRxFn2bgqlSYFcTvjiEg==" title="Mekko Graphics Chart"/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39681" y="1315344"/>
            <a:ext cx="11512638" cy="4770494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E478C60-D148-7721-DF94-6EBA28FF1353}"/>
              </a:ext>
            </a:extLst>
          </p:cNvPr>
          <p:cNvSpPr/>
          <p:nvPr/>
        </p:nvSpPr>
        <p:spPr bwMode="gray">
          <a:xfrm>
            <a:off x="9553435" y="1802452"/>
            <a:ext cx="1050596" cy="4519608"/>
          </a:xfrm>
          <a:prstGeom prst="rect">
            <a:avLst/>
          </a:prstGeom>
          <a:solidFill>
            <a:schemeClr val="tx2">
              <a:alpha val="47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BAF208B-A27E-25C2-EEB9-840A8AF135AC}"/>
              </a:ext>
            </a:extLst>
          </p:cNvPr>
          <p:cNvSpPr/>
          <p:nvPr/>
        </p:nvSpPr>
        <p:spPr bwMode="gray">
          <a:xfrm>
            <a:off x="1221873" y="1802452"/>
            <a:ext cx="870034" cy="4381601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DB5BD560-D551-8B2C-7CF7-5328AD73FE6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2" y="950918"/>
            <a:ext cx="257175" cy="250258"/>
          </a:xfrm>
          <a:prstGeom prst="rect">
            <a:avLst/>
          </a:prstGeom>
        </p:spPr>
      </p:pic>
      <p:pic>
        <p:nvPicPr>
          <p:cNvPr id="48" name="Picture 2" descr="Pye-Barker Could Be Eyeing $6B Market Listing This Year, Report Says | SDM  Magazine">
            <a:extLst>
              <a:ext uri="{FF2B5EF4-FFF2-40B4-BE49-F238E27FC236}">
                <a16:creationId xmlns:a16="http://schemas.microsoft.com/office/drawing/2014/main" id="{BCB6E573-8006-744C-195D-6F4DF8EAA7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972" y="4920184"/>
            <a:ext cx="829714" cy="265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Uniforms - Corporate Apparel | Cintas">
            <a:extLst>
              <a:ext uri="{FF2B5EF4-FFF2-40B4-BE49-F238E27FC236}">
                <a16:creationId xmlns:a16="http://schemas.microsoft.com/office/drawing/2014/main" id="{E8F11F0B-1E81-B88E-5E48-C04A14B184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9408" y="4909994"/>
            <a:ext cx="768577" cy="286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" descr="Hiller | Brandox brand asset portal">
            <a:extLst>
              <a:ext uri="{FF2B5EF4-FFF2-40B4-BE49-F238E27FC236}">
                <a16:creationId xmlns:a16="http://schemas.microsoft.com/office/drawing/2014/main" id="{ADAF171E-14CE-267F-489B-55C3BCAE68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25" b="33125"/>
          <a:stretch/>
        </p:blipFill>
        <p:spPr bwMode="auto">
          <a:xfrm>
            <a:off x="6799399" y="4896768"/>
            <a:ext cx="926725" cy="312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4" descr="Century Fire Protection | Comprehensive Fire Protection‎ Services">
            <a:extLst>
              <a:ext uri="{FF2B5EF4-FFF2-40B4-BE49-F238E27FC236}">
                <a16:creationId xmlns:a16="http://schemas.microsoft.com/office/drawing/2014/main" id="{B6427C35-0874-0066-6A60-D085316AF4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885" y="4896957"/>
            <a:ext cx="526728" cy="312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6" descr="Marmic Fire &amp; Safety Logo">
            <a:extLst>
              <a:ext uri="{FF2B5EF4-FFF2-40B4-BE49-F238E27FC236}">
                <a16:creationId xmlns:a16="http://schemas.microsoft.com/office/drawing/2014/main" id="{3ED7FA89-E428-F89A-18DE-33053102C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1857" y="4877951"/>
            <a:ext cx="827715" cy="35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8" descr="Home | Firetrol Protection Systems">
            <a:extLst>
              <a:ext uri="{FF2B5EF4-FFF2-40B4-BE49-F238E27FC236}">
                <a16:creationId xmlns:a16="http://schemas.microsoft.com/office/drawing/2014/main" id="{6CBBF55D-C53A-04FB-FA80-9F43D077CA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035" y="4893537"/>
            <a:ext cx="1276917" cy="319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48EADFCE-A82F-7BF9-373A-E4691770D221}"/>
              </a:ext>
            </a:extLst>
          </p:cNvPr>
          <p:cNvSpPr/>
          <p:nvPr/>
        </p:nvSpPr>
        <p:spPr bwMode="gray">
          <a:xfrm>
            <a:off x="1278621" y="4940087"/>
            <a:ext cx="734186" cy="226129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  <a:latin typeface="Arial" panose="020B0604020202020204" pitchFamily="34" charset="0"/>
              </a:rPr>
              <a:t>Sphere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C7FF9E65-EFB2-B1AC-75E0-ACF316AA4AD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124360" y="4956032"/>
            <a:ext cx="910487" cy="194238"/>
          </a:xfrm>
          <a:prstGeom prst="rect">
            <a:avLst/>
          </a:prstGeom>
        </p:spPr>
      </p:pic>
      <p:pic>
        <p:nvPicPr>
          <p:cNvPr id="52" name="Picture 12" descr="MAC Systems is Now Summit Fire &amp; Security. - Summit Fire &amp; Security">
            <a:extLst>
              <a:ext uri="{FF2B5EF4-FFF2-40B4-BE49-F238E27FC236}">
                <a16:creationId xmlns:a16="http://schemas.microsoft.com/office/drawing/2014/main" id="{48A00AB2-9472-2955-6662-E426D9696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932" y="4897410"/>
            <a:ext cx="700837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24062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1" name="think-cell data - do not delete" hidden="1">
            <a:extLst>
              <a:ext uri="{FF2B5EF4-FFF2-40B4-BE49-F238E27FC236}">
                <a16:creationId xmlns:a16="http://schemas.microsoft.com/office/drawing/2014/main" id="{070DDBEB-78FA-F19D-88F6-0140B8E4E7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10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0DDBEB-78FA-F19D-88F6-0140B8E4E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btfpNotesBox304406">
            <a:extLst>
              <a:ext uri="{FF2B5EF4-FFF2-40B4-BE49-F238E27FC236}">
                <a16:creationId xmlns:a16="http://schemas.microsoft.com/office/drawing/2014/main" id="{048FBA2F-BEF8-1ABE-C1EB-0790324C28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34974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</a:rPr>
              <a:t>Source: Google Reviews</a:t>
            </a:r>
          </a:p>
        </p:txBody>
      </p:sp>
      <p:grpSp>
        <p:nvGrpSpPr>
          <p:cNvPr id="51" name="btfpColumnIndicatorGroup2">
            <a:extLst>
              <a:ext uri="{FF2B5EF4-FFF2-40B4-BE49-F238E27FC236}">
                <a16:creationId xmlns:a16="http://schemas.microsoft.com/office/drawing/2014/main" id="{5D10B9DD-89B8-7EB9-BB14-08ADA3BFDAB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8" name="btfpColumnGapBlocker266444">
              <a:extLst>
                <a:ext uri="{FF2B5EF4-FFF2-40B4-BE49-F238E27FC236}">
                  <a16:creationId xmlns:a16="http://schemas.microsoft.com/office/drawing/2014/main" id="{6AD17176-AFC9-30B5-3737-6DE35642D052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ColumnGapBlocker792148">
              <a:extLst>
                <a:ext uri="{FF2B5EF4-FFF2-40B4-BE49-F238E27FC236}">
                  <a16:creationId xmlns:a16="http://schemas.microsoft.com/office/drawing/2014/main" id="{7D5017FC-FC0F-C351-05D6-CC97D9C0F28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930671">
              <a:extLst>
                <a:ext uri="{FF2B5EF4-FFF2-40B4-BE49-F238E27FC236}">
                  <a16:creationId xmlns:a16="http://schemas.microsoft.com/office/drawing/2014/main" id="{D5F0F9ED-87BC-D70A-FBD5-3B139D737594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547719">
              <a:extLst>
                <a:ext uri="{FF2B5EF4-FFF2-40B4-BE49-F238E27FC236}">
                  <a16:creationId xmlns:a16="http://schemas.microsoft.com/office/drawing/2014/main" id="{993C401C-34C3-EDC4-3F72-3988C88E6FF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btfpColumnIndicatorGroup1">
            <a:extLst>
              <a:ext uri="{FF2B5EF4-FFF2-40B4-BE49-F238E27FC236}">
                <a16:creationId xmlns:a16="http://schemas.microsoft.com/office/drawing/2014/main" id="{18C67484-96C9-1077-4D3C-B9F997BB29B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6" name="btfpColumnGapBlocker925350">
              <a:extLst>
                <a:ext uri="{FF2B5EF4-FFF2-40B4-BE49-F238E27FC236}">
                  <a16:creationId xmlns:a16="http://schemas.microsoft.com/office/drawing/2014/main" id="{CE80C57F-925B-3561-22EE-42E1526AAE9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ColumnGapBlocker193628">
              <a:extLst>
                <a:ext uri="{FF2B5EF4-FFF2-40B4-BE49-F238E27FC236}">
                  <a16:creationId xmlns:a16="http://schemas.microsoft.com/office/drawing/2014/main" id="{5409C5B0-E5FD-4BEE-9A0C-789E2176A46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0" name="btfpColumnIndicator245238">
              <a:extLst>
                <a:ext uri="{FF2B5EF4-FFF2-40B4-BE49-F238E27FC236}">
                  <a16:creationId xmlns:a16="http://schemas.microsoft.com/office/drawing/2014/main" id="{9EC609DA-AB07-6967-5830-8266F1029D4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btfpColumnIndicator654716">
              <a:extLst>
                <a:ext uri="{FF2B5EF4-FFF2-40B4-BE49-F238E27FC236}">
                  <a16:creationId xmlns:a16="http://schemas.microsoft.com/office/drawing/2014/main" id="{A5067945-1060-6EBD-9954-7AC761716E7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A1F8CFD-0A66-4405-8B57-6E234082F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Ratings overtime</a:t>
            </a:r>
            <a:r>
              <a:rPr lang="en-US" b="1"/>
              <a:t>: </a:t>
            </a:r>
            <a:r>
              <a:rPr lang="en-US"/>
              <a:t>After peaking in 2023, dip seen in Sphere’s sentiment over the last year</a:t>
            </a:r>
            <a:endParaRPr lang="en-GB"/>
          </a:p>
        </p:txBody>
      </p:sp>
      <p:sp>
        <p:nvSpPr>
          <p:cNvPr id="11" name="btfpMGChart36443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v6BRy/EX/QD0MuC/l++gvMHIkBB6AlB7BB8SsdaqHqhNYaeJzvHV7QEbyegVP7yvTblHj9Jw5nzodxJ8b5KHYuKYcF4OBsOp8BLTvqcxJG5pw/PPok1rr2bEJoOdp1Qba9BiIgA/ZfIKKrDyJaeamlTpIaEK5amk34kXFmOo/L6xoSTXQBGtF8D32B78V3Kcr19gMx9LLXBLYHmSZTNkQg3jgawazH/wwWaTeQ46F7gBV0SCHjQxJdr8w8MvbRfRO8pY71Cz9zXh0hMni2iTQb1ltILJTw5Qfk+AInxwreSutSpfgvndqvDFdYkLeyKcCyvDgN1ZXYqMVVBFQgCMCW/oxtHCKuoLLhbS+kl57gMlW1crUTfbL7bnStUnCj2wnxRx3N750ZEaXc7ou/u+A8AwmCSBCbW9M4XB6/0ha4ySHjdzKT4+v+6BDD9rfB64iWKgtH8zVq0jwVumKb07sOp1xiH28A/65kxnv7xONRvnu+hk1sRPcc9T0OlkKCO50i3LvT5KZ9y03g00hhsKQbB6BGE1xZKJSRjq7BaDNpAfV3FaJ6n726YsxA4GRQ2mVoTu3HBnTj2bPW3cYYHYznVYxX2wG8M0wN0wu/3TxBMH1MsG2zk14eWRk0NWlOfkZUVlm2LujaPELfGo4bzllv+wdB4RAhmUqZYVnwqkfzDTgu9wjy9E+4pFBgF3UxjsgWiUYUSPkCjRQIQ4pqf1yGTgDPkEftU2MEz7P8ENkda0nHWwyAWRaP8uLYyrElWw7im3wXzoVOV8fj1ryOb3kNZKDYOEvCCgqbB2VtV3gKPfJxkp9Z0SSvyitnhIayR15PaggG+R7gZzc8hyVSvemLHrrCAxmLO/1ZX0Amqn7hubOhXt2td+L9WNsiwuutx9sIddSYEtGIlITFh6og4ZJJT01JyBQaS5P7dlxuim9r3oypKp5vGK5b/dV9LtooLwD0lnZcXU+M6LOIIlsnxgQiyW5d1eYQ47im4Janucw0ELAtopfE4FRPZxrhCSodmVf0/w/6acORcWL0C4nci/Eo67R86AVli+u35K/vH7BPcuq76X84lZDtr2rZPCX9J3Lx/ttFp/cKRR0DOoAn8k+ImvDBYrSLQKRzAYDSTkSMQzf0G9mTyOMpXNKfdVzR0RwloqsMvl4oynvoMfZ2yNvBEpHNX2fQW12mysUaI8HMVbPHlyjiGUy6no3rVzLnaLpyH4q70klqmiXLGnYwb2FZ0v7EABdyA5x0tINar6VmurOurQo+yt1V4LL3haVZF3xxeBpmG8IRy11DpcUQLwChGf2uf85a319c4wT1uYQg+PQatrESJ/YP1kKgvyG8WrxeDLwvr0rXjsW0vUsB1hTMzAdb8ZZAqvHMVvQ3xKICVRxPY1YJaBz0TwAt3qZIE7N+ghwyY5WevkNZERV1jxAAtnS2WaCLqtPurC1GWUSAXTAP3yCCZbUiubmZXPC0UrUrrgpsi6SF7RwslZJpOlNU3aj866rCPYz1aNvKc4F7Y66yMqhk6L8cfYfQNebRiCFRPpRq22sDinZCr8w+VLCLZ2bRjnsugOvlTQV8W1LkGAKyiGcgZTBjYHTIAyKn2tMmKO99OAwruWeHgLIDypYnxrEr0XpW4vrMz1MPY7/Iws1iYmKDE/iIxSuL1sSXjz6baYO7KVNXFLehh6YCD4r/ksZsZKnaTkWvG8y2bkT0Q2RZkNVd8cpPyBoL4nfMa5ie6p2fNMAg8B3mgOiVyHQRMqZ4WX04VjgpRap31yYmyfe3YFlRRhEjvTwZyM9mCVPbFH5/Tjrh2lN5OZTxX45i8aZi94tq/IBCXBg42LYbE8/FHqg3/GpDmFsbmA1kR3dv7n3xwpf5EEiGuWJX5oMP602y7NrMcNfnVuIMrPmQeL3Y8gkbrQzOplS5T6+If9qBjD4Wy6UvbDstx8N2ckJjFhfx7kHPZUMBZCxCTQ+wPNMk6IvhJFsifmNm72JsEMQAlWPY5rO2hIXI8RK2mryQht9CihBL/RFSaiyd1H0DQp9hG0o5ydwpFxgKSdrEq7Espx/0gzVo/pJ58XApCNZz8IWfTpqzIuPpz3c7pP286A6GNnQmaOXKs8ZTxlfMhsxhOt+2/c9TfmakmgFgtueldxVcJLDY8EKbRh0wE4GhWfqc4iQhrejM4c7UJDXgYMTVROl96RyUl1kL7aPWvONnQtvqYEV25xbHdoHieR52zgktkdjraeECCInBP7lkwbDjFSZhLucn66P0wCy4OfU8y8PqHV48DxpIvaPHRpZrKG7tisgxS8KJC6cB0FFGZ1BO2ZJrnFjSBu2ajcLomT+ZAdFkImyp1xtWi5KqvGkD2Lv0Lnm++jtVY637V7WnQCYfKV+iaiPIUZfyFy/bmCxtC0fDMmWXglzXI3QeQok+ZHXjP07YuuNz63vQvIO8GeXyBq4V8lQgdRcaPVr6SHOHtwPAcT5a/uKj/ss+Grg6O5XPKLR6bLsasgJ8dl04Etqn6+luvZkGOfv4Br3+FPRMYiyGI5eDMlxbVDaiwki3UEJI8jEfObqLfrLnIfGCXJrGiBjpzBaiSNNCI9CtznYMfIMDT86QtBTgY0joVGWc+JPyEiVhQ33jPWuP11T5R81Q9u1qK+isJpjgZLCKVC7TtMeS7dHYF0iDeJRLWrmnzR63ZNO6oWtjNaXXBrn2rfLBSmINfcSBlrTmW6byP3f76aGDBRWT2m3pT5LGyGHGQnN2YDhFn3t3V5Jl88CkTCsOPV/FxkPDJW0LHkMDpK6IVHXrPVAboyFULHnkNC4rkGqGMMjs0qQ8R36mDgudyM4tscfN5ZB9onqCxK4J+QqMWn0BCr1KbUgPs/p4w37Qjg8vQjczDAvm4utSt++16OBV8sCEGiCJv7GvnMai9rd2qoxcRGz7qO3I/s4XHuYZTMsFkg3LG6ualgiMAmcXoWS/fzhvysQQ6UrohYrbL5B6uCf4ILuDrvHYa6Mzrtm2Yy36p/IRsly/ebYg5dgG+aerjJ2SIQxYeyvwD3qKnxj+CLdtQ/DCE+lVg1bXHB6bpEtdAcQQfQzzT2cL926RTjxIMgmOadMcdQouwFdGKbHXCEN6hruSGux1xq31FqOVDrsXD4a1MtY+OrNUVkW2izIBOF9fJp5gbwishPIREtcg+MUb7/653JT9rAymVsrJF3hQJphoU1pNajb/F86xfBBHeYVWjJDISc8OF9hoPvw6YX+tpd6i/lU/ZVW7nobVAS+V39QvhecJL9oPgfoSLqssPiZFI+euNh3L+rNBQMGsEucPyeYPGAH6BB9C7WAcbSArRmGOtV1obOjojjhQ+VaBJMi6gw4UUjYmxLlOjm7ZQxQlBqVmnncQFSTllA+2u+2lhQ1mxp4IAlWvc9CTS7xTiu/BEylUzeMsGzoPNu6Atqq0PWQ1j7negyHrfadnDCCFg96Yph0EY/50zcdDHEvyHPcxoiy+HrbFlRIgHmSsrNp4942Wx0I158HYwbsRqgYQeyQgb2wqCE465S/apB4TThaxjxU9Uoyuq4DmdkokHkFhHQjhx+ftsS9QE68xhuarON50QflP30gmxEVNlxGZ83Soa9ejr/6Ew6MdW/3lJDC3K2a2TnN3pfpasJBhx7zNxM5drEEB/pehDm92zzgXl/wSY+JjsW/hjFrjqdPuQ9qddxU8hdgqX4OyOPRPTVcG89Y1jp0fddKJ8OqUusGtokRqSmW34RgOaS9jMbG7SBMriafO0MU+L8weAw1lfSRC8e14WVPTDfshNrCl7cl82rmZtT3RZjs0Wwfg6F47H6geFpfXe8qiovtYJeQpS3hlCVqRf2Qbwd4GkbFe334Jlx/g2W6xD56eL2OBsM5j7QbZB11zwAZEhjXoH/uHWdhBv0MGCcXR2z+mSByvIzX767vPGFky35pjZSxZG+HixFHuR3sjx8wSu8v49vOVMLRoB2R/Of+6f4F25llLSAzpmc42nRZ2CdFuZx6TT8xjjzp3Jc2NSsJX/l6R5u0OfxXQ9d4I6QmG/EOaYkdadJWmXe+/tDb5zn5IuVUiLvWOiN8aTzX3eeZ/JDwaViBC8XnM5XUqyDnjsMGcjD64YSjSUsOS0gXYcguPmtrHlGWzvROM5hNk2nSxz+5J4faE9ZX6eZJzoO8GSuQMuIcOQnM1FQEqpI7/6E+a5w1XbjybTosukM6vQa2xCLEcyanXTWVOmh64f2H0o0dnXXOg76AW9CH4pPq0FP6308Yy+W5MqRwXxdSQjchYr1QH+z1ljhKPjaLsNynsg6mqlrcaQdj5NQsUDYkxIuS0voAuRRYbq0lDpeHjUQgV3fO6l1rrTWiuPtWZEDiFeVZpQOq7HmVHaf09SaBYb/nIa9YHORt7Ic150Jr7VvG+PM+4OOAL1jDhocrLanabg4xPsjDqiYyQnF5c6c+xtWdQf7csAY+xHxskC8a727OcKrRIgkzc6eInZGAJ4ChA/HjsNX+0Ktx69M/vNYIXaxiK5BVoEh1+7/Uy5JXaeIWYhSqG7aNmAMOqG3g4i4xcreDqu/0Qm+ZxhNvCxLruz86RwuOKxYfJDkjEz15rZCcivHE2wMjwfAd/ZAEbr5vUoXNyw1XfC/RV7gjdbWGD56AOxbdqhsIuZvadv/HQN3uJrT16CCP8P3Q0ccJ5lrvWeCMFndNXvt2H61tHGrUiYIcZB+bvADKMz+Aty842TfqhFTlkUzuFaoF7esKMUxzfJqPB7b4XEDu8RCpAIUfHCaHl55JPNtEew+TRGm1U9YnB3dWadl8KtEEz/StjSvxEPiLxV67IFLccqxMTznGs18n6CUsArsVp68IRm4cFDjqnsKRA2sbLYEWxSaYngwzH2u9omvR6cVHb+i3KEcP5qAQCMA4qRc4/zd4cn4SehieuZhN5mXHhCCQ87hbH7TeqOfjtK9QZCBgzMSJCZJ/H2AKYAQTE2LhtcVPtsuwX/xZQSQMmTwLWmMYrlxlR7+2p9QR8jvVaw8saD3Ar7aqP5jrLO4dDpNePgOIqESyIDd0BWBJ1xRPU6MgvIalkvznp6O81aAiTB8ITGrlHme959Mq4bpQkuN05X0gj2LUCSAG1u1KwYBrS6e0kgb3vuTFL2E93KJeRQqdc6GsPddgpjT2eXpcdr6Tk42AG53spygLwddBa4kpxhHOpSyNeOJXK6QeRlJMItbBYDDnBVFara2rDKxxkePwRwvrWuhFk02NRANhQZIrQ9ggZhJVI4ujteOrs33dr6kk78NwaVAJnoHYjRUDyJkKGveRKQqMAIzdPHhzEx8ogPy5ihHdQBG4ZlVFQxDPryspQjICkl/BlkAkeZwQqpc8W3o5KCoXh84xqNTAKDno0k2+TfidCQK+DtYgj4LFDdmcY30P+kHbDfR6ZjNRSw+B9iCDU+TnF77gdDb1Ka7PWwHNwU/G8cULMI8MC5Gwe8cxK4+OjuhHnWfcd2ohQ3XkZn3UfM0KBaEfGJYUARWVdUh3hmyTy5861vghHW5pdH4ZaZcRNCyv4ds7pTe83lEXoXiWZAAKF/gtYENVriq4mXcvqAfsp7JcVhTgAodNRc05N8UdCRT87y5Zrkipx9cpZ4igjpd3j0jCm5KWtvWV+BCJIYYOJO0i0OBmqD3BHW7FLqL+54/loD8dbJwFDrDtpGTs3FcA1V/+VUunbc5KcAdzl6TQUz9uu1GufC+1XrPxevGlTiBETtQ7jEqFx6T94by/ipUT5B4Fv855LqOzXbLZF/zKrUdWeJMfRvTN3bvuCr58pS8wPZNIoudkW5Guk0DgJBsV+gr6SQL+mzbuS1zl4Udsuw2AyhOAZPvjBGMwGtQJ9boDOR6zknpEaGyD+T4IEMn+MDR/lh+ZOyrzdKwm8Ah/SlWxl0Kazc4NRll6rmbkOvJdazFVXb9L68n9ki/K0zZ8sGBH9uq2KoTn8mpH31CC2izOpNnVgbOUrubRlrveJtbAWHkjnYARAu4XhQM/sRXElMFkSzn+zHRKy9//1N92gyDU6zcEL2uRQmzjfm34uabZTIqsRwl6npnudJln28nA58Myda7PJpcavyQ8mdqWQloF8M55OnDc3wEowWnZBqR01Z0kN16qiWB1J4NpBXrEuakME2SrJ+usEYFXr8zzaWPLYnmIWpSxpnxW/AzkL/sCA4fhLiWfaaNI1A8JbhDPN6ZhwWRbl4/Cd+5CJlksJ4hoD6wxGfUSWGtRSAlzfDHlvEgP7a4JtRq9loacuUufBps+ApxcP282AvlHeKob3C1So86bl98UVYHlNjqy8X02StRlhaOimLN5oW9BVDZsN4ISkurKixFO+7vLeboVPtSK48WJnRyRpUfqJrksl3DE1I7PanYmZ+PYAvN3gBE79mYIOfUOnvY0mSemQZnhFCi7TMZD8R2JprUcY5+r+fBQnJ9l6+ThMV1BNXtK+q/FJ7ap6c9GwDSw6NZcaNsONvWdWipuAOQFdeglVEhvIAOi2oLh990rOIN+W32CYl6xDVw+gbwp5mnq8jBSMkJtIKOyY3S6bovJC+amWFB8xR0Kmc0P9X91DpbREobA8tImG76JzCuGxsYZ3dQo6qvgU1EnvGknQITAWdSA/DVHdpBHHSyha/RyMVRwsvIcJSBIqw/Amf+LqjTDN9jddc1u7ejPG8OCYjU1P+pg61BZ/X1Zst7E3eQLz46Pg4RPHdaCc8rg4lKSqAee2YcHvz2JYUU981dklQySLDCb8jXxQpmuLpq6nEDhI/fDait7tLf6C5FBoYNDPexRBzlLmDvHeQAN4/xlp6xojWxHEuhZc/W6bK1cc55xGfRnAUIT2GRoeLvJosCKhRs1hZwEgadzvFR/ENZEa97wgILX612LbpCCH5XQlyPx+ncLdHcqV2jLt74iMDpvOntCGhkVREYAvBvvxzk0E3KEthMCv5mdXQn7yU48sbFd8HoJ842h7krqgVURassB+HFdbJOYDF5CrEy8URsgjTZ6qCvsbHTNKk6rTV8BJjoRk4M+hLjkniaIGBFn+ScMWlU2jPVbBh0gkDFzeUs/6Nr9mB+vm0K2LKIP+D8SHYiUJoxHlgszrGwsKn03ClARUZ883KugDfLm+k6kjEJgl450ZWYT/BYWWRch7gwqXVKMw4P7so9Th+y/TLjNLWrWo5B9UnPoG9rTLFO/YFnS8lrdhSzRGyHBrUNtlIfI+iD1dC8iefdM5lyutLE//GZ3u5mxfPhVbcGFpkdEnIXVcGxRh+shGIyNWo5LIwLTR9YaOnRKAk1pXnLaUXfYPO1tkwWj9qHDXl8VcOC+Q5gCMzAdrCEJVZlfYpJhZh2LcvBBkts8h7E/udxDlHCk7grZd9Ippsut70i/EmAqQoJfOiIfkwl3XLAYhCwLJjYXaQXi5lzv5WC440rYsnVBW5ZqKMcr1HIDeTIYYW4sakhKAwP4gkFzS3fm+Z8WWQolEVwUIyvUtZEsXHP3Ip9nQlPJ/bVOQloS+97TSV/sZFMpgRydleP70Ria4kOL9L5ejRBd61+DfM2RAizfqQb/LGPqMROS7jqaer+k8G37WX5M8tIY+vy3vMcGuNdf7FLdkLT6qjNO8NHmTqjYgh5Gy28Zq3PBIKvnBGD1p53fhnW0I4Jsd6eq4LASiDn6iJkYf5ONU5kwHuenFKL/XdvUiUJkVXrjInDiBNeRkO9J+fWiZ4nQ94J4vd5CK0gCHBkgbd68G7RwPGrlsV2jAi4GT3qrjJBCwxoJrADM6sQUDfW45YgUw/nh0XgEPQfZbfuFDHUDOhwx1lih+eLNQKlUuzJg0rmeJeRHik2bZj8ukUBkFGOCCOv9BL2ubrwqAb1DPKiHlmNXOl8Jmx6iITca9mHxp2zxgsKpIBEHK0EBx60+r1Usj5jQg2bRMe5ZHxYhCOXaMD9ons2R8trcLVSUTUs8E+H/qpV59Jtb9oTOJaSywzyorXRM6L/Zlj+St9mh2l1O7J49TxqGyZ4oU91oX0OG01Fc3ySyBjv07SC6oCwhDN9zlq+H+MnKq/DM35pAT+h5uJN3xVsD1KvhnK514CcVIWuq/M2jdIvcYADBbxrYl0aI+XgjOeWkTkptIZ5D4tMeKTDbrPYbcgr7uGrMHvks7GrDt+8O9obGjuW0mmIyesqidwRe/6A7L9u5HKNEqULPLMAn6W+olT4rxm/WYSaC/GWltIxhbIhm+Q8D7AYjbe58KE6DvPVz/L+Z9HRg7eetKKV6YLbISiF8tBGT/6/REisdnMtn+4ZW+DduPWJbdcQrHrSJzNS7lBxqZNIBfZggDoViUQ+mERZ/REWZvIqQQl9w9LUSW4r3xuQAV/zXYOsr9GhsKae8OdbBtshWuPr9FRmpFN1FLBoDnQ+R2FY+1POjmmc+0ml6g7oeuqPEBOGz6av2hxdJhhX9FMtcNadYKzrdtAYOfplJgGBjMp38vpqjgYCxPrnt+JB7oxOnJTQutHq0t4B6E8cSW+1IpldY0dU2/7zi9c7Uk5hNYEHnmkk5by9KFGJbOeGlOyRQWaG4qADNUV7BeAqKVE5GCdBcYIJ4GJMkSyCZduyFqyQAu0H5w31DWRfFnB1ebGN6Hej7FXBslv9sei+NmHX2f8bRiZE+o78+MQ3q8jhiKEKHvs7fYjrF4D39H7AvaApYgycGwhmjt4f0PMpttiKEZfHEXbffIuh0OYMeO8c9L5/YT3WEAROcz3wEJpAQX5WkgljN7vbJmHxUMTET+y8OUmHaPoc1gDX0AnsmjEB2Qi69B05mt91Vr2ng5YQR1DnutgFs0zHugqqnh0Rin/wo1kbDU25liossOG524ZhJvR6N5nhNutjBVDkfhCkMVNzT25/Y5az/RUGH0ZUIeGZvutSTMj1wPBlJ80OHetHgjzNMHc2s/HA1P98M+DtoqmBKPQfb61rVmBIQHFEOZ6MPl1tV1RyynvIFu/JAu7dS/gjbLBJ/BDRBKquRBuOVnYZ8472v+v4I7AiSFMY92uDyc6R1sO2ZJ7ZsCGAte2yrEvWurOE0FU/AlxvkirkHQm6nBBXQv5LM4kPja8sfiJla3aE1HnR5Ih16tEWLQmlv7ypjGqDK0GNcXAAwV63KKi/xnoHKhvmUQ7n0xBbp+LYU7EgsuE3GZpwPMRfb1H/fjW4zKBmM8PUbNz5kr/TeVPFHkb6d2JnmfsuScBkkqS8mnXslNcGgg+Tj1IwaXFzT3qoKiZX2+9bXwwwMA2hk7wAsSiSUQQeF2qA4qVAWr2vzbQ5hz38KZmoL7fAMQ0uBiZtxvk4HJ79FzUu0MnveG7FR9tuAtonRna8FVb6T2zWPcSYiE2kwPCdr+vNMNhv26HJpE3c0eJrW/ozbMgBaRTYUQy+KsFhMZYIM8mNSjqQqpJglAlXqb4xfoIfx9BDHAWu+WEfnDhDI6aBwL0yf1acgUy/VhqkuBW3JkyZo0SrBrkyXVe2UJ+6HMnJkmOGx2fC0sPcP0tiifPPCJmqXfQdMB9Swaztx/P01CxctSCveJhwxqe4ThoaH8d4ZKdDPPC8AqUwiiJuuQ0SvBAsxknXUCjhuDJsItbrrC3mkjirLHgxCfaRnJz/FoU5t1TniFbNkg0n0mtEcdUpKlnzQYk4So6jnqBnkmoduNwu2WVZgWS2THGgUtOwEp6Yj7edF1TjXQ3EseIMrmtX+iUXmMqS/a7ZXMIB96U9zZfwQr8GdiQX+ZYke0/oeNWvXyJrm6yOeZ50cOLr2FSCQDng7Y0FXpj8NvXx79Qsl24Mldj6KvqMBIiSJty6KUWLU2p5z9ksGaV/2nA15Ttfnd9uZZZu3FiJEbHZvSzGJcli0fxaeaTXi8r87oPe+uuZUbqcSMPf4pxh+fmwIJMuyXLiZ/ZvBkJYGdsrUEjGNqydRcUK+4LBdroR5OVLco9VD15CyJNUIcpWkAs0owL5c4abAb8WK3Tk0jYrNUuw3SjyAkfaaV/pEr1YWXcxQa0LT9dGo5qafOv+DWFChaQoaJfgOdyujCzTfPYXSVo+Zt26/mCTLMN2Ev0G8QKOxTImS8DlBOn9LrQpqFyivHklE4BtYYZFKzu8V0jWxQYdlUDBLr7QnVhv+9G3IBYKNPCKsCdsWS8vAjBWMKcgTLxC5ZkmNO7lXWqdRZhwdfRdnSEHbU1fMSd3EniGiFneh7wCvp71AZsur4DjoUwCbWr85Pwe53+Th9euIs1eaMTzuAMvQv3xo5m83HFrtgxqIVnwy2dhEESCNOC1WpIrC2Vakg2l2Ib5h5bHazlK4W+LOzAb2YiaJiPmUwS+qvpkUym007z9nu5FNVosqmhPFaiukzixwePTnqw6gxcpLHbjglsKo6lwNWSTXZCxqq0QZmNdoaqgmZyQP9e+DLpLiLESklHjwMFoDtsh7FBQCUAqeCYb7Zu4TLZhiSHvj6065pmaouvUvboEzJ5norTkMyLBh1xANORN+lCBM7E7JC77B/LHJlz4cJmYRoiEyHvF6UNSjeEyxThOl9ATB3bNHaOmuWP9D0UFoZjRx0g2krigc/zeugKdzbf3kdvcvzi7M2eWVUhqWQSF/jzd1mgtCip58akJWg4CLmUk8cVocMCOQmiDf3hIhEKiSD53/jjSZXoCqGQAhJKptdzV/vVKDvxKyijZxgwMzJUjYTCVxbDY3X8b8t8PzC+d8nPQdmoKUralagXE4hSykAKPP9oCANk03S9ix7t3jsp/uKWvgJQMPLzMVvKH/KnE+G5YeRKlQ+BEA93JjMG5LFBT+fkfLlcL0Mrzr86Rc2d4oHq7ymbD3PW+6kAqzW2Hyhn5gRBCXadfncC8TeivF+07fpVXFwYBYQBfo0w5hgriRIuuhFMBH6Q34bmXJ1mvG0YQ+ok+F2l6mAJ7sKvdh0BhZ9Q8aoQnjfpdFIA9+NF+CRNkVL/PXqPZMsDB9MgwULxQniXW+5gYtQineu+lyP2ocbio3rk+/GfYHRTX6mT2BxppI3TilcaYGbjfK6FlpwHCLna7MonJu+Do9m6yYgG/h0SBiJ2wXGKuPFfhZXaE8Hh1R0ydNoXsArU0xJrZBx3ucHWnzD3J8QVRgXQZ+Uy3gF9urQHkLjlfrkw0wgqlisBG9kDYruUvCQaWCVKyKYGI63YUXcMBZlZGQO/eHBylGHGIHdMjWkAAxldg/lv0aRGRE5RfCMCb2ViGVHHCI1R9s4aBttdAAwW71IkO3IzJYPRVfACiwSvI1Yg5jaP3a4Eavmjve+/1heR0NdFH7bLNCMgRAhcAt7pfMrEs0dCtKgFllDW5yppjGLJWUhw3+KHlk67RFp07E/+g7oLecf2xtNs3MTLDi8SYc4bKxHz1XFfOMv8b0aIzqHEerOsSw24fNc/J6om8zb27h4BZ+bsOuyVuTDvyD3Xr7x9DRsY9ewuBYF1hDmIu1s6kNCAqkLwM8p3mjv6G1pmMl0eQvgO5YsfsmOGS9kZE2aX0bgmPaVmngExWUqYtitOSIbZy9pLyn+V2VjH2Pw2ptOQSR7p5VDR+2LpbBGgxQ6B5O41JvwQ1l0NKgZYgMog4cYcuPhLjNDWQFsMIXf9Z6oFbMvuUq3NqX9R4w36jihhd9qeLcIbBp8iRtJQF6MRtFbT3vw+6WU49K2//hXOCZPhRWRkZBHGK4HTp2dRVPksF/+s3HgWxWJ1Wb0V48uvoJMl+80KWVu2eFVOST5GCnBaktSvNHIzYy3YN1YkcVUCHLLjHPQ761p30oSgz4Y8IMnP6gSA97O94CfCagrwVj3MJdKaeTztz5971SjkFu6P8ebdJngiihsPn+qkjUfriF4JvIsuhD9WmcZBFjPvcEKCIZZcyglgJMpZ6xhtCCfzrC0tQfdWHvWQqIViYwQByIAwGnGx8bIfUDst1D7wybk+lcT9C5quLcQ/URqPajiIbHqxoHNpZUVw2wml2O/lM2ucsQn+WFzTCCqL7Cp6GI8MwAnMcUq9eCMga3mbAFqkVZZ+Ht3vX5h0KltE0fp2c4J3rOLxmUfEAybamOCVlygOEc5FqbsTPFGNpizD9sQRstJTacr7TyPo8q9qfB53Bxqd+PvRgK5oS652TZcoebIeWYgWdgRJY0i6dNbB4hZJDyxlx9tVj8vUTw1uSsDn1KU9pamgn6aRRDaR8apRZRMWZTos6rCFOl8fn2fg09S0mVy3XHV6Xp0prspijuY6AMH9G88s+0RN3IjKJhLbTV3O74h4IskRhQs5iBS/VzOXOQKpRuZrRegiUkSreUv7odz4IlrPXNOH9cgB24SB+MN/cnSAbdbNiPBj4RKFajrjrfFZFMj+O9sU4MrlZ4XCDllgT+no/t1i3vjNBetj215W12dIKykgzT7ku1p4WPqU5juEktOxfVybUF+nurFnc2+tLjBnvMjvL0cxCfZzVnDIZZGWw0tRFqoCAoluVtKi5ASGdoJEKd07Fos8AtjEOivjDaj/KOOkEZOe7Bwc+ogHrHE9wmfR4gmH84USXK2jtvX4KrIpxB4JYpxYps7llxOjLzpecxLunSpoyA8vTP2WJzva7Qtup3mzz2ucKmb6fRUn4x915LWXTPt6Xbw3RtouqCgMLo+chRCHtkUQ965dewMbDwquVwmCumHsi/cD4iwmDt66mBVZ4ojloc2Fz/0tV0wuGWnXzSbXvRtU1RNRqXJ5un8PRWbXiaF0zzKn6Tdgkw+mxcvUixi9vm8L2Cc84gYNOPdNWSF02McmnJ24QLW0b61fwy1XmyqnyFuLXhm2uZIOHQCj1fMeSimwaQWRn31Md48i4lW1AhbqN68X8VvfBKgZq3vdpJTf5cKxKMTkeTWVRK3+qXm7FBUK3yRaqwY6alKWU5iF4xzECRQ0AI1FCvRwYyiB1v+y3SPIvqpKqy7sMCfty02nO8aoL4U00DS+Bv6UF4fOfAz/kQQN+yDRm4elCV6cQEWHMBvqWBu1+wrSuEr3li0GDJYNjfw3NW6byLCk1EEMzlUKbFtii+kOs/PNfjIv+gat0Qa2h2pCvEcgVnP4P1WpNUSoo7q/e2yn4KNSAlSzD7ko503Ckfm274NgcYHD7b4zZXwu3uTDvyIyxnioMBbTzx/+YJ8BmY6nk4vI6hDHlbbalWhqFnJvqcanrgWeSF3L124cJdJIYIEpc6eO73tf2h99Y6Pk6KOUJdS8qTP98i2mQ3ZoSMR/e1kcrRKZ1eCUasQaGCCQbHRNf45ZHiEK/vk3hE12HOJhGd356Zckh8XWmCeOm53aSpb3gfhOqaLOLraX6xFxb2s+fcO1cQqPaRTxc59HtQ9ukM05uUeCRmfnvIGDU/02e9N4pNx1EHmy9dLGe8SERwGHKsuywKcgtmlLk4aDqC5XkgqkKd51IWeYwu82unD7WV4eXUVIQ+/xg+bgl+ETh4OzKn9ZSY0kACXt/mkE54qLbTC+H8WqpFH0JaYUzcuZKYD6yu2qDJQBpGW4NbHgcXvYKhrh6UQ5PFdzw5Zmrsagu9QmSSt0YEosx9s4Itva0OsTb9U6pqV0f8f0ZKbAC17IIi1Yq7ipJgaBW87lInEkTR6s9EsgBFBc41Vp6PG9DV+JVfqvRwHGtwEzy5PjUSo28nZlG2OP/7Q7bhxjh0Knk51F2Kv3no17/ys8X+xOx42kfic012S3TikJW/yHVzfvBQ9dqNgfnWlve3EYNC2vz9WANCq+lepzpdlaNK/LPSYZz1AfqKHrbf8DAbb+yqJyZ9UfVpKreIbXKrVBWSs8eWJlTIbPYmAoituiJYrhzroB3dhTUSThTkDT/UiaVx3b61IEwjhxy2JcMiFPellkuYVkBILufzK7lPGxPmxO0jqem/UMlsuiEt/peRV7zvr0wRWO84DZy6EHXg2iwvVKb1OnnEiCRGpDrxK2LnSTEA6QEtPMZ1h0X9rGDv99Ll3pSpLItogdjIQVTg+RMm5T3ca5dUbky830iDzLldIRLAfxOPK1TQ7AjPRJkxkVIMd5jaKd6rsi0ljkNHekXom2NXJJ7fgh8kUDtQ7z0gWEu5Cf/32JDDKCJfic6f83JF4JIoqTRyzDOsRotcvLLOsLfD2nHdrMWzOjgDEjOlJi5sK7Gi7Dm2/HjHNAK8thL/vNw2dzgSE/Ce0VD8txArx8ayfTmGji4F4Oq+cyYWC/DdSpDnBZwGOUyVdyHxNnnTYz81rb0o2oRAC5kS3twkxjGY/HLRjaSw5xSQPJnk3B0s1owFXU3g/PyUx2wJTVIeFlOas5iSUnp022325x8IQEm9iQz6f1XaulTG8UHIVCH7NKVLVwV4TGkQ0V0zIHKrl/BVIU8vdyKdxDE+b7JZ7d2/1pGHLOoyArZ7MOHA88TcR+97qdgNqW5ppIx3ZtYfy/PgKAjAOQ1v/Rjs+oNbHZ0ObEMlEvWts4SlvpOP3R3c/asgBoQgOR+2yDbpWkb1dsk58ZLFI5i7/lXtGSIwtRcNnoeQQSiiNYdIQmoavzzAxkQD4bDy82+QwviZoSQFOhfK+gteXRyKG6RYp2e3AmhYu1AKxN1ElCDiicOZkXORUu5WxDieXcDHRJESHQcTL2mBCqmIdSwaYrkW6B9r7pjCQuCxUDbhzmLrQ9l+tc/69J3hXzaIzWdokiQTwzzFfoRFsN00QdSQ6CzVfnaN5iiv6uHVlixS4FFcF3MH0Yjs/qb9lelCx0ZfbSa6CVQbY06TwVbVoJoKH7WCUgsOFy7btQp2zuWWPauUi7hLef28IuT27kWQnEGbfoeJRQuc6dH/XKrFDcNBnAm4hKoOOwrLGSchGlCugd5fL3Q3OA2tnGUihzQozzoT33A9TLcT7+eIXilL5jHbzXEZEA6q/poaH1QGvBfYIfi1C5ajpxfu8QHywpQBxzSTXyeYsl09oiv7IfcVUH5ILRtuVf79OUNz3rW4+OCY5pfLYxmkIFOpj5DOwuMmPGMEy6K6jaXgZO6zZ7FHaYRzZd+Kv6Oj71pJ+Eqsex4uMBdm8+KBen8MtKBWvPwb/8usrPX5HVJWzFjav+nGpbvT6CvyXGDJQpisNnbMfH3ylpo7RpBTqXwQ2GFyZw6l1W/7DcWhzWMkUqZUgiKS18LvJIWC+hkyBNOmkbtgsBCC0SFvR95PFrudddudvDWCEp/yHRveipa09rq8xX8dGxtwHFekA5cCckmMPDQQUQMZaIzZgvlY0U0kDj9/BE4a6gu8PzLBPPo2C+W4OkqZ43xaG7kMzqgQnwvykzASlPSjmY+7GOFg61fOcm+3pHQxrBzimLhbu10RRCPeuLLCvChBwplhv6s/DSxTlAxAIlyVQoDJReF+xwx+YivEo6unrPq17Wi/cHj3b2GQtjUyi/xdzGKAPSayAUV/4xel02oVIqgvp5gOTaodvVdHe97h76ELmpniEtrpHjWsPEpqpA2tF2Byegg6BcDj0Na5ZF210zpP+ySGsFH7Xu8Fy/6SrR0py0zyND16l7atIThYvsuSDPWwOWz/JkJwx0g9IeDKODfBDDaMw5AuasaQ4WTrK/FnB7VQ1GZEnO5KXqdG+8vWbfOw6Ihe3UTbD2Xlaw1YmkRA2wv/MMmGmZ9n8YIgr5TAJvR8twmNe8yc25F9BT+t5DASCXw2OTf9l+VFoBGMtD26KDimSCZIxh8jRciCNLfXYP5UnToQlELjKSD0TFO+Gt05S3O/U+pBE9y4FWebRUpUExiufuPs94ZSeYRvSmWYPxXlvKy3rb+VqFjhCnSxQWaDaa6ys5oI88o82gKaa2Gsar4lmbj7E0NNv7M8NPc6OskoWA7MkhDBpXBniEEj2jOdEfsVVeXy0o5krCRBJ0NSvo0HMh43+hJkNjvHhsCugsWD5/69TerMI5Ui8WLGjTOoJekfiP4xAjjrkhyQlpL6SwBSYqqVHqFmrqHjPkM5mtAgJoDZPaZl1H6a0GXDvo4NcmwOD7eAQ8pM81ucAhd71FyKzFkNcRkmGoMIPprNz736Yg//Rzg8waZ39W4KjtSyt3coPYp/Y5g9BNOTokCP8kmByjEsqVt7xVxeLr2oXHpQ/3Icyq1BSaNNg6M5lf8pglwyBTND8W6GOKAqVsu/TiCIzhxG4cCpiEYZGWsv59Xq4rPcMPnkh2nXQCqioSlaYFHtrbXJatSfEA9fGuDyK4Evn56sX5bG2HEBzKC4yRsY6WO7l2H0yJQpNTmuCVBwXM6dmLI8QHnu3MzLDug4VZ25K/569mC9eeMtqMeIZA0FvFMNr1PsHTnJGkWeoN//8ziCSnP0dJbUdx1I1nUIX0kyASWI46RxCE/t6stR5RcbjnmSUu702Jcj7z2UAB11/J7pNLdfGPkw6HJscmYxB1NScFK7bg3Fx8az1XCufO0EMpQ9w4FM6tBD2IC+AiHXxylhfd7LglK6L9N018h+Z+n6JJsIH6Ki1vefIrWEeaW+aJz4fM6kR2QsoSm/L4NmI1YxuasiMeid7UE+XpG9OwATqyIBUZUDMhT6yMSvIEFJTQ7uNQDCFn3lEt6IY1oZq1VB/yOlICT52StXhqe6UawZo8lmxMoxm+WlVJa222jsgF7+HDfp08ki8rKdAUeYMLSETpa96TMZEzrVuJjXUKbRIsM70gDUSCQb/qSlXWrzBAdQK2PM1P6GW/LM7wYSIJMuhWUuGsLVLGdVhpjC5+w6Fl3nsJ0/WmwTpSrdkS8HuXL3cm1ii6RGCVQNeAO8PX0P94evx97kUOEUQfeyEIgm/JAMeoVPHsZOS5yk7kscDtKoHEKOZGqTgr6yTLuv0k4v2x0+cQq/Q7dGOcq5Jbn25C8ukiu3nbM/hu8gIUHhImHaQbsRqXAVFIvdR9d4W49xyzheKWJ2ilBu6m0xVLEGYESnHTzlCytzmBzEzuZG13MQsdj9J77YR02bKuF94Qfa/Ye3vf3zbpTr885dOQf5NvzOgG+jegog8feP4b7TmxWk/dMGDLzhH1KLmIfwDmWBaqydAZ2TxUKrMNUrZnh2xslGnY3ctEtRFInTY7fpngYXBH7ijm7KnOIhkee4+2gPzay8S8Wu5lA/tq5LPK8TobWU1DfS6KFMPuJ+Rl9Llg2MmS8mTYvWLnu5chWgUiZBx6uD00ERMDYjgXRGi/mNGxOA8mhqS1Jl9NqrlEX46N84hgbdma22LYEiBlQHMujSh9RsZh94Wb1RSIdaxH5sQKotO0GjcMoKHc/eh1Uz4VYErmVHgGJ4abece6E/oGNbBtp44hiBLJtFvchdOk8vsBUsX33kNzgBmbAG+ah788ZXW1W8nBy8Jfuur3XSAkQm+XQhonjfWVAHykf0g1g3HFs/xQyLmB7VFmmneVG/RhQsye5dSUbZODY4rai4Besc9iQyoQ/WXh/7JBekz1z5nOdWuBpVGwdH6xFdWd/Q4BUuoSdHkaqXX+fSfwSyx7b1KlNSDus7wuWHjdZgTlgt4yZ14zToPJ11M3QMshmvzo+VTAEkJBY9tggg8kU7oC2KD39DkiD3nYo0NPgCZd8Go02uytlq8Xs3tJg8ZrixsCCIFQMRC93yKe7tr0F7rVI4zuX7iU3VLtUoO7YnNL+jM7FwaHXM4hSqNqOsAPALX19v1UpDR9BF7aedrNClQodfeatIsQy40BR9WCJSeqf5Jlb2PIp7ZsblfTKTL3XZyVtIyqCX54kJq/h9ii7tE+U20u/pYITGpEXoK63+l1/jpuaHQHEOvTV9idQMQwLNFlnjNQuxYTLxB677Zz7dcS6p3v83Zlt/AIvggC3UFJ+UoScIrqcQn8hpGkeUHNTM4bHu0hVOuYRKGjCT8AKwH5nHSTiNs5eyxaU0VHgO21yMnK2I5cQFzigCqE0LGNIpKlvf0gfO8HkkPMZpy4zku5jpYgWS6bCmQuIH+vtp8+CftQHrL3XnKHRNhXT4tV0JREGx/+CPQ7VliLdxRYI8vQ+iG0TyIJNt3bTClBptHeNQGZCTWRz8HP0OWS8T3sYYQ9/Ko2/RYH9ji681z3uUFAXoSh8/OlZJFQdiRKkdgCfOGpXmcJJwr4G0RFp0VjS8Y76MQF80UAjnbZndbyNQdAXJMGA93LWRBElic5mOXCvi5xoYjzxJ5O5k6i+wmmxUK7JUOKl5GheGZEmpIpqH82kdNhtl0NsoohKXrbHBycV42cKhPG9O/SKJxhakSfOwRrkcWa2bNHjSeJFXZO8OZ28KqyUlDXvV9LXki1q0hqJaNy1TURyU+BDEkuPEcIZco1OWpf740v8TW6eo1xiGZdYrNZkAzLezkour4nZ6rZWY6fa1lUsQSHuryWOQTAIbEGYS1r2TBov+uv2L42inSVupIw0doy9zVhtuBPfuTqOrO9AM0x7tQ7QRgGEHeZbazNhMpjRauEe3R3ZyRECzaYuDY56tLqf51zcYeji7o3/cfBSBSmyuD3j6LDl8iEstLJt5LQ7gCSmtQxI9xUzZLU/n4mRm1osYNI2pR/KQU737l4vUNdvRlW+RoP/5mvjcO4fPuQA8GYDhz6uyHF+Po2njI1Od1czV/z07SDrlp7dq0oH3l735hU7ssvFgUUF2/yauF5CIp47J27d0vCbmWkh5T/jilTH9jO+ZJ1Grz2rl+BA/GkYP/PbvkAoqDMb5dVSFcbu4dlUWCNp6dOxgcHWKJkKiwN9mZ6LiaCa3rH8fNeiNZYHAPXugQ6QkcC38ahpEgI6vNC2wOC9kfQSiO0vnc+2zQDWIKoWV7Xmb6OLxNlSK6Kv+6OZIpP1H2GIe4G5fzUDM85naBlmStFmRn0emF2uuwXXNB6CWK9T329o0bzwajRW/91seBu0JWAiXJ7oHvstTtjaBuHeWShxygqxv0C9TpbBcbQBU1eK4B0vazk7VxkvscQYk2TtfDJ7fTnQDRzc+KnQj9tYUKehEC3YhOzbiaJEwChrWiDI7P+RRIbYgP00H1MRN5KJi44mPZXgtIbpkan2xfGV7sFfZTPZg8Pw/brzeSBUWDgLdBz1O6X7WP0rR7rOjdV1shZnl7kF0zVZuybym8fAsdnLkKe+Gaw2sq8tjOny+iWc05TX41gR4QTgAYQ07/Gt6dVNy09m3HY4p6UnosuyoVdQtl0WuunYIbnp3kimRG/josCKAVwe1FfR+8P+j9XjtJacBpXXzMg2KEYHA+RVuCy/TwwDY7Xz9N34UnqYsd6cRqUSQw5JpE7ryYl9WVp3Z4ltY1eFbuxMZvqV8zly1SN5NkGbWd7rQom+3wB+cQTESvCh0nim02shuqJsF78io4shR+S7kiPFfO4hTdOntnaKf2jt0SDcTdcFwMYJ6shVEYWs+8owQTzUG/xLSCfVbl8y5UIqbONGHBVd89+h9OtK1roCBxktQEVtq61A2Vzrir9JvGwyWw0E79hRJFuQh04ZfXPP3XN/1EEPeUv2SkoZ7ORHa7ZErQkjVxTstDxw+bo4DLHQA9tc6WLvMXok8gd2ivF6qzplhn6ImVIwE24HlDX/WmHF8BnjeFgyDPcbFVK5xreDw50Bwu6mRjfa1A+EOqIDtrSvV6PXDxRFAg7sB+amvLMERJswg3GNmynR3eO9aB7ZbipjVzoBh5PPWGIzzDEA8MDyFX5RQt5HGcNi4kJ3QcSG5b4ZBiE/V/QL7PRryqqU2/iYVLToaEDCS3OjXK2m0o0lLMwCg3NCHVMaMkXfU6KzMK5tkRUWpCVhWibIfSd5Tp9a6kjiLmkzRaXsw1abYXoQn9PU2vQakX8HSJxpZX368mZ4UbLPlvktOxpsbR3WF79ZBF9iQ6VZE+Gm702VxFwWGWJBSX8xvc6Ow1PXnkmAaIdj3R3S0Q1lhJx7VSNiXUepPEGIXfppxFlvh1MobIYlSYkg/EFaKsgCIyFDQrYZNu0/FOWibr0U/gkILu+EZmHtiMhdPBeeBWp4JOAEiF1V0DESObagsQboL0YWFizw2AaWegeO6Cys9g30+Iz3MzfXHN/zwjeXNO4hY7VCjliSSVC4+Pff4Uf5XqhYfyRag8QsXciiZJGc/nTd0F3S+/qfXOJf+up3SAz5IgkhnhghT19LiN0dyUkx5FuuRTeve9X/Ro09RTGfgeitQ5u4IHsHAFGt5GBfSuck82pnYv2SEpcmu5yGs8W1olvdYid8zmHl5pNAQ+jkFeA1rnMr4N18puPqgc6pwnGWbfZgMDIICtwSYS5S+919+Y+cruVidLvxlDo8G3UwcPO4TfeKInIycN05xlG7fJZ2+IR8Br4wRTgj48S9QDmgBTBJp6wdE1a3ADUyyiOGKOQI4vinhy92/av4+VyaAd4hLGDRzMYhUvBBZ+55DbzpMNhAtZecJOKCif9Zwc2Gb0HEUv66ai5hrOW1bgvDE+123R/zrHPjSry91qTjKSSPtxnpaIyC6H5ovvfUcpygRm94LwZhHJTfNuOfya83jWTsgpTIhfzsDsXX9zNlIpApDv6y29aw5aw17QNGs+psu6zJeTKDKQlLYSEiLlWZ9HB+0kbe7+ZLNFbkrvNy/xxaubvhwODN4G1RHiZVI+D2NrIXEWUtUOhFPZCV7W9dagaNZSO25jDwz4XG+DnXZ176uVj+cREhBPNmKL6cFNaJZZPqGaQq7DcDdjuOZhCGJrCh/WNlon/DkiY/mewPPyqBHYg8p9O++93wS+dK2UP3dz0HAyhDY9vdtBSkXzhBp1nBierEyYZhwEM47DYSJg5cNm2RPz1dHrev4S8QMgCCvclbxbvF0Npep+Jyvgsiksn0hGfnyWH2cAH+jKAyQGbieNrw/tVLlqzZfX3eCgX8OLOPEsb2pMrzMjCHzvXVXNL0Ue2g1lkbj3Ja8iY2tK4dbVGZfFqRtE1Rh37YL/UxP9pxIPbWM5RoZx3rW2bffMlq1P4ze4KAMSOL8lqsTQQLAxJkh+8z7fkzknJExqrNudZKwixTUxq8h+FdJrsOzeaqBLCeN7Nk9LTwMFqcE6omDI4/JnMvff/QvtgXnPRsIlrYNuzWEJm+TZ3QhnZX8EYSViIZxvuENIIBnMnBoRllww2ihiLD/Br4LLGw635cOGhPaWTXOIrBfQCyblynTfEf1cKoIcwEoBYfnSXflz4CDEgnYiqtUAO5K60VL+4zxhnvZcSWgRiOzvOFarn3PIB79V+puaETf7CKgMu4npXVQ3FOKu+qwHbJebUFfB+FPUbVAZrtx9ZbQvLbAkXuTstzcdmqQJnmHJawktRCOALFUIbEEfr7OotsVCYnpT3FdpFSH/EA6LEPtFbKfesYcaeaP3VTrN26kneMeEEhwSSz+RUfxhqOWUB0KtziiUDH1UqYI9sknkPqTvoayG2fIjPMB3/ON8IXc6e8/uFbkbnkOV59af37gxs/tXsTMvJm5eZCboiSJTxkn0VO/dt5aaUBPXOBiGD5u/bjGmAYrcu5UlONmX5iCMhfJTkuj4MeIi/KTRhpdO6JNlBAqTxRS6o8d7gA/UkqzZMdMgJnLhita0pzbdGppexvToaB8OGQ7Az88OP2pKviCmAz9jIIT+DjQQJY8NGhNbuYzVTgi8TGeMVbk4gFfSxCzulUa9ASLyjNCuRry1O10jW1M7vwefG+vsMdTMZha57mLSzAh6n5cyn8lEoBIlvJyPEJ/Pfi1TwYl5S/gPLRpptI5DYSQgttycVbAC4oSrysQbsvwd9Y9UMrGcCKp+1QHJNOfdIdyOaQSPgnJwRB5KxIWA8bJrwrkUaAMnX86+Tx3EUheuvhFu1hXNlrrB9MM5lXvr9X6XO+ANbgS1RWnHGN31wL1478QEAneadPzBReBYh3sbcYLGfJuUrLilazaw8TEJznc8noBjQchz25bhnQz+RVjGov5S4XxWDtfFwQFwVayzhhO95ABdCOoOXPGyHylSskxZFDgvce5510jPHZqHcLD/wuviylLtau7eLLkILKViYzf1whRVKO68Sh0cBM97D0OglAZobrEMAu/82clc8HXNdRNNSy2st+BN3HsQ7uIAOlDn7hjLeGAu94qiRscVAYLTtMA93f8TN85vjyrTRXHZhmPe8strlE4I9YDyku+T+rVZVI28OBKMBBDUlNIc0M5jfXkF8Jh4bKv0aPHB/SOTZtvUF+bagBgSG/XxHKk8nT1L/4iK80ogFgap0g5ks0pe7qEyOkQYQY3Wf4ibSG4jStAPlRx3/ivYxcnBDHLcEKi1nKmud/Lu8YeV8h4tEKsbNw+UOLqSzsZybhF/ec8lUfAzbdc4wXDaaZt7QRVY8/EMqvCeIcNqZYd/0e7Qe0GQJUT1CBXJDH/I+9Nz8rYz1bd9eDgxjrPGuMLX92HQ8QIwp9WKWhaFKiztCSrlJN3rqLkesFvEZPB9W7Oc3FXw+G00wXMoKGDL4+J5axRivHc8zK1MDDEOXoUs6mfAPgvqOH7hJ7CMaeS/de//sPMkNyLB2vdpZO/EutbSVCgofO7f0KSvm4CPzCgD4d/6ploq/wfDK/PoSHBeoYJprW2IeULLlmh4X5qrYF+S21ZshfMgp9WPBhvZ3tc7JUrZubrGVCVikxm87MEaePX4XyR7yvukbvg/CHIhc+JMgmX0GqdauFkhbJoasDlvWARLLu/A3b3gHrSnc23U3cLjM53XhADP8BQ/YbSGUD82f8WGnTPzpddIi49lEdOFTP+ZTiSOuDpIf//dvdqn3IZT/ENUqwr1+eBM7sUyt2auSibK1rdSioNgV85NdM2I5BvBlf1ldmb5+XTbG0PZk35A24YJgEkYCaIHYB70pwBfpFnrj2z38qVe+tWpgVn0mabNhDOX7HYYiEwE9ME5oVltNO1R0oEdrL3a5zLklvvmbzVhNFsXNoWyH+T72q/uwvpjXvj7pfe0KzgpLQDiz16wJNB1YZz4SuMV73Vnr3GVk73mjgAGD7ufxei91FsvgQNliGEpcbnSqsGg5eUOjYEsqkzepSXTHSJ3SQgLATh5uTPF7+oBk9BHwfZk+XgUCR7NlKKcqHVJqMJqKPtdXjBrzSsPzkipCLRqwmiXZe2IjuZqpSXrwy7y7kXRqFMhrGJQjCrDZmHtY9IqzSr/8EWhvTs5vdaNjdo6l5HzMlqUg/jNPKnxOJ3dbXR4UTZ0oJNp3yR7JlGHR0/FyRRRV8LsuXtt6ltw6Q1gbLkLMQYFNqRtZXxFVA8xnrt1CwsjDQ3z+85cymA30VR3CuFB1hTw0bsc5Y0QtP8mcvDYB7MJ0InolydVPRrj4xUfH0ksYJ5KzIpb466ptjRUywjHUMXxafgFuLwKSpK9ssUdypw/5gI5TeP7x7Q7C0QBiQFQp5BuSCOPFdkQASJSbyLT2pbrH/esD9hM2crAm5t+uhcJym1863bX8i6RpWOKyVkaGGUigwzG8iMaVxaLpwJJEbJufODoXqS7raIDGW71UyJfDfGJqCzA0kfHxb0ZtUnk/o108o35+Yl43GC983L0K8eQkiNExknWD8i4HSnkMLwKWAdaTfRl61mflglGLoNdARxfysocMMwPk+BKbDdIh0prlnQTBMK0tO6nhlTiGg3o/PLe36R2Z/Pg9OfGoLCADUvGBWPK33i4Pn/DFOsAQNJlt+ybpp8Uj2FwTfcva9mJL1RmSoaceKncmTJJGrcFFytdPEQfA81Gh6aykpB/3p78keFBZcmi/uC+Iu7Pi56HnvlNgsMkIx7GU4z19RI/jyT7F29SyavQJqKrp8UFvaJfYBK0tUtN/HmLzkstSZsbp5QLx4oUivObP0cyB5VDQVr0bJqg1hxwRTlx4gqY/qbadqkiTClOtiX+K5RK9QQXFR8CEs+4xbNvxIhOhJj7erTpicG5sDxfp+Z+GGocbwJref8pA/vH47lmSpMXxP5tfoYuEvhY9eywC1svBUn4DtMZztEbT74q9+dNw/1qdiwRzcqjRAppjthLxRtBwXVpie+onBJUO9ZhwrUP2MkOUbIj0cPcPYBhQYlyX7E0PKs+QBrwIziVB3igJfDcXZyf8noo9Bgysal4f6KUFg4QL6szUeS04KGtXVs0M6AcE9tzWBDs68zv22/cRBvVwNQZLANPywwmEPo0lheTT1BVfK6amwjri+oltX+dIxfMY3N9EleAY8dV2swCaHIsHrhdU9TEq0zAkmhH5qPCbAZ8EF3O9XQ6JnqsUEXh6zsRTjVWVs66hjMbETme3kDEZffNEAD6sxQF19hfWuZE/dy+SDHtsNkgNvf0Ip6XFbatGoMDZfTE/fozG7fqiPx/JLiIia3dgOcl6/Os789hiBfBm6r1wnz1jMf1oPg1VnnuUYcsDs51AIG+3Ke832geIZfZ49r3VBD3QcuUZ2OSe2aAlpzIU/sJe3AqijnsBxOY590LRmxwjRhVs3eDAp+U2YEvQoH/BbViIYxti/1RRaxPCxoca296SzBngWuF8u72vgcjcaikKFH0OXco2oGT+gpO78cO76vm64Ot/4rdrSIcdHaZVhJrwLjEQ80CJBKbElvhbHWQc+L0Qgz6ccCjXyhQkHI3BhWG+EJNj0pTgFGemeXUB3vfnOcNuo3BC2NvABostFc+IKZf0zbwhlKl8OK/mUaGpmjJF0BMHL637WdgEClK/GHEDs7ZfcEXXJ4yx71gHsSBnnCcbAd13/br3gLVkNxRrvi6L86YcZxyx58w28Mb69FBCgvQzT3vWnFLfezQR875W9HTPWMnl3GhjD1jxTHZOepPvJNERFm5cZqns0gu1VyUtX5przHyn0lYusU5HS4SJcjvQkxIHoEWoALv6Shb53ORRVc+QbG0WEG1RDY9Ra5aipfGNK6MC8SN8/Ukn8u/Pqk6Tt+M5MJRWbg1pith9N3k96xKepqM04YhTru/0Aqfg8UBV6fEbjVEwYE4ue1ApCGL2PqWJtWAeCguHZsMQDBTy5ylyMab1X9vz14rmAtMx6o2FGH7s2kYwCiSV+I0xbeRvNnIgBCcvT6jhtmFUl6++uTA6ysnIJAtWNNFg9mhCqiPvWljvdF4X3hLxetdd0L5BcpM2oSIhoyD83N34fY5YaLdHAFIHdfvn0+vgIzXX+9wsq17AeMK6QYaSoIFjVVcgbuG0ybPmQEAPVXFQJuLmXtDPqP4o1U1C1sExdydiH1hVlWGrrDHk7mGKzAlA3EG0MRTDm+dP9MqKUNM0gHxOT89ufxR6CG55oZi+t8JCYKF5I5x/ifCEBNUx0v7UvfAuhC79lmCW2pVhqNMJm7/D5kVbqi3Jr06+8CrdEFHBBmikk4kfPTBhgNy+4KbKwtgBzHM32aG9BUxHDWKREp62SwlaZ2XNgBMrhOYHSw8YLKTWvcJWWZZazeAKlWiDuT2Vw6l2qWHY65U0dIoA7IJUl1hRytTts3nUeiYM9mbbgTGAiG4pfKTr5E+Ivsu6lS7Z983JXTBIotcsT6kpYOXRyBDaszQYnCBs6pb15N9Sc2gNtndehjpNgTf1G6dikjRF0ycMlNPYZ7yO6Rbaf7qmO6zKzyfhV6myblvfQ0zcWVICFxwSmfmII1N+t3d0acbZTR8lZg9IBTQd4p1gNTKPvkU8GEp13UTI3BtShPmQoCYVy0o8Ts4cKvDkCMA+Rc3xNFh5Fse6b/vsDu9d6cTzmcUry2U/Zx1p08MahQwD+hnIuTLh320gjWEaVJ67McS3ZpjR9VW5It9zmQ/vMwqFMhhlVXjjPSGBh9+EP7c6lnhV/Aib0Y3JnwPJdeU5edWEdGbIidTNxK8H/1Eb1oA/qoHcPZg1SaDZFcR43qm5GW0p9SYuNWZ+gcM4Ui+r/XFK0wrK28XTXWNPZ0EIhyVeSsdpFVAN2RkHEyvtCIdAzDGg5UJTRkxUgLu1sNc8U8ruGgjbb51rprsY3lRmKe6F6Q/9VDlX+EfF30alrwMEIaWz2mKX6cIfLWMq0wP+dICQRL2ZJRrS13bLpxqNocJ5dpRsURKprrtNX2T8VhrSqVIOBxyfqJChwXALfUnDH7bHyXlJMnR/ex5xZB8Y61PMogmVtqdarHZJMdpLjqIpUnr0gFUHo2vkhdVVQ9tFlEDYU9RPZAQeR3bgHbCavaUxHT/Jnm+Ijmr5LaHn8QsCRQB2KwjSj7jfrYxafgfIQqmT1ASNm5ts4BPFbY3aasCdOj4EEebTHmYqzWqb+lgbRu+WvmW0eE89a3rAXpV1QCN2/xJhwtNSWMq0L70JJ8bbfuOeYEZHpCInfFk4a8olGYwfJhwX034SGA7ka4RTIPO7/HrwVL5NkdFnoJ5xo3IeDtYAY3GlTcf60c8Cjo4dVWmL+PIw/rGyVTLIPmnSCM1Qqz9V3TzbNzhAijwT+k674BdudliEicAqOu5WeXLFUzzRTLZ6owSFpdhG6Kw7dXWx9H4M+BMl1CKD2qWp0mCBkEss58wXjEw4o/KE1agH4XpQyNWSH3GhjgItBbvq6Zv/i1QH7bPaKX5qxG1A/UMHdUoqrsRVtE+utiBaPXprVxJ0rUbl9qlRoLXYYMglW04GtQaAgqfUAINgYWkOhjUc8+d3CeMmxWG1PWw5h4oo0MZUN7IHmRH2zr6teLae4SwjlmiO2yuGX4joZCsGyrdvqTiobaEPMjCJyUWo3s1WAHL0xyAyBPiBipShxMweZ+647La6tE4AqxMLWbXTSXUdHjHx3i37ob4QUEjHvPfOU6PFoRUCk2JBOPlBehXALETWvg3DEFN8EzpoSsF8iWIAAEMGZi/ZV0qzV0qicw/QXyUBqD/GRg0uXOB1ZSWtMTAQX2H9Y2hcmnSRqEFAchrzrVUMDhrT9Bh+NCz5OOw6ABaJsEuz4QYB/Tvbke2UJ8pfWDa4T0V8hijnwITQD3zZhfwtILzdV6OpuENFMeunYmAn/gJJCUA38J+S66Y5H8hmX8m6N4eM715kWI+3zk2opXXeIqWSS5ku3wyINleJY134/iImOc/ZVk30hnqCy6pn3pdBJfWOKyBfim/WA6cFUJuRC0BdYLRO19uxSSVMjVaNcwyYwRmvBwTUiF1/kfs1UraHwYFAqrKTj2p2RMU0MzbD1QLlQDpDuTNaCHV3DlUOSW0N32pgPLu6Io8INPFMbsQ/LBv3WyGk7sfb+QonPHWzX5sTQnhIVa9S0igLY052B212XRGQpCTl8SXCGdF38+ZXn0+3q0ZlZx7v+sjvhrh/oH512my3Cb7fx47TVhQ/Uhx/FX3JTZAvnz3ZduJlx+alD8PkVlIuswderXAH3wWfswszTMscm4gB18hHLxo1rt+6hsMaTk3M6ESAannuxMyoenuFhee84ZMp6ciahreLMgfP0Iz8BBUtaemxKcZpXFl4PFhYqmVohkxuHyjFz1tRAe+OY8E5sxFK7ui0N6anwldDzfSQs1M6VseqVx06oTm7tLVhgL4VlznA1WCQAldg0WeSQ33gDuYlE6UH/nFO1QTSpfiw5mtzj65KMIleNSgEuFp5tiGVHSUp3KEkHQzJgMeJONoKP0LBO5jW5Y7mmQzLeBoAqrjFSro09QSx5frFdiluwixm3+XTa0r357KPzdPCE2e8lt46qQlMqT687AWHcGTXZ2iviqIT84M9gjFvfEwu56p+3VgWScap0tB9NCLSDDeI27jCFSLrsuKX8EnwB59tE2rRhpxs//4xnX0kPpRun8m2YZGGu4W16Tso/VSRdAOPjEcAu9b/ffGD6YYh9cS8+eRs99Ksd9dZAWTtvb7sdb4fQMn7UNBh4z9CVmM4jh1sTmM2WKhE42qTLQF7NMcvIKyv5f2hsuIys6ynPP9GDUAjpsujEbgGTZB5a3RrkNy4rUkWKZxHRwT4f2TkJbApFBeRXyZpX+QwOQGXuHC6tQN7XIoU0X7ODQodcpx1SC/phAP9A+gRbXhTRl+eXcROJpPUZJk6e8JDcBmc5WBoiT0iPfykM5hKlrhzNjF0DnexF1fiBRSUzuxxkHT/Ntq7Y84dhkUWJX7IjrxvjnxM5aG0yCfzGI1tVhJBt90p7QPUVV3hvfWz0Dmv30/IQvMOglfmUeAQJ54UjfkwOr1PbwaGcJhiAyn5B/E1xPTraB4bIPbRS6GjXOeqTcCH+QnL9s0n2mWfhrZ2G8+Y5JTR9bOGay+SmqjM3qAPHYlcwPEbjwg3H0B0cI3gKT95Ua76Gh7z0APMi9lnf7oysSsywnuKSMCXnAA8g9maREL0X0lD4R684vS0nkLJN9jHQjxmvhAXfUgSg1KahdGxZbnDF1uLHhcUEnJf9xZDou+yK2x0QwXgZR8sGAJgWSFXKBqFMKVjWZo8pAJMX0fpEzbR9M9urH2YwFANWtmB1rXDavP3H07ykwzSgRwMSDkR/MaQlwBA5IcfsTUY4FO3Gf3SWvxg6vt7hhjPE5XgaVu997PdGvNxkiPznlZ8MAxqa9epu4Au3uXnMq488X2iefAIZ8ICfoorjNQIT0yLsukrvivBvep1iouvcFWm5VDVLeuu2HNYb2wSnuH6zYgHWRKqkVZYSUyfvSiHDkM/wzpTl/TzSls+WOPDkEGLSVPYftaLfIYz/yZGLB7xrvdrWQTIEtSEzYvqWxGbqmiefyJ30zMoVRevVfPw9w0dxuYmA03WP99xMXgeh7JXhr71SZcmUpcjALXrOZO7S4ZeT8YQy47tUTcthpw6lyxyJvr7N4PRK5n4+Uuooj+FuHcm8I69dgooi5ddlhnSI8VMhMguWimu4ElrpR/jYdw8umh6j3iSQFzCSlgi5DbkwIjrymU4XIHIREtgTTIU+N13bW1nn9yz0MmZ3fzTse4bwuOyhunsNX40IxD9oKGZmPXaDA24RZ7tV0QPHX48az8tIB/mVnmpnj0sKqwoGVMazHxWrI8+WPj7bGGBnInCMcUguoU7xnms2CbHm9MHl+m09EOrQeU2YQoPbmyd0Nu06yq1EvuaZmpBOsJpueKW0M2WW9ZwdEipLDYYvylr0/oO6ivteLVOJa2YXWWXEhdr2pNMMKJBD7IavbdQUFmgxHshz4b8y2TbTYdoURWKDVS7IR+CY8mj1UPD1+ijtGPtHM9LqvbBjrlO+yU+3ldiCkbtSI0EbhFDWGNL/ADnztLFP4Rl4Vcuzp37dUVVtQML3tMSfZxOXEsWGHFdtme8L9U9gWOlvx5G2gRg64duocMRYpCBARWf2DS5cP02KG4Dxb49N5GksCVES/S+h5okztHRV2mMIxhlA6khIXXpNEPZKuBCntB9g40VG7nMQbA6l3twyK5TFy1sRcvpoW5+Mx7XvgcsSjmmv4QZKN0WhOWvaf/1vhrItf25iMF5s1nIqlbSAMdMKi/RnItq3trEvNWsuzxkfiqZLUb4EFMa391croacfX+RwotMwAbUWVkPe0XrlQNi/RuLrQjG558jfBgISRPpKgbAJTZQWWwKMC2QRpdJfe0Av/5jp5rxN4wMZTRU3GBXTPRg6VpyTco/M3SRUuhKEz9Mu8sofUU6DPXk64G0bqtJcpT9TWw1ZZsW4BE/nRM2d2NYi8DPAwdC0pj0l99jZPecHrEPbHICKbeNp1b1HQ1Mt+4/3uSA1VT23uQHuiKumv5v6VvprL2Wom6Z60geqtICS0UyIjOdCp9n4LB4v2Mw5GoPFD+tOzlRpAxnQyULL855jbQVAwh43iblny47xNfkHHKvLljP8pkUGxTuJrvb6bzeHsGvKYtFUtLQ/IxDhHjtJ6qQAZI6TLjF8lJpiLX/Qiqrotrrk6fwLm/LX6kzgN6gPQsjvkVu1EmUH6n6wZ8zZ9dTMx2KlJa6hNNv1tD9cTHCjCy1IzEaxvDWlPcRCf827M0ZclZXHd4jPg7S1QAfNWaYXE/r14XN0vjz9yGhoBccCx1RfcP8pPQtm52GGyNcPB9SgnjnIbi6Q7h+aZS2f4u8S7dY35jPNrTbMWulQv8v7bGy25yC0cWGNW6JUvhAtUelneGHsKzMruvIyYnAWVu12vT7WceBv+DPxDno9aHbV5Zr4Yuz6SKU+JzoUEb/wgfFMN+00FpLAttfJvAGu/Ck033HEjyVOGdvov+bCz03mLOqr/uqcSubDSyvVXrxIed1Z6SJHCT5Iuza0lCoslUg+KONH3ra79okLDtn0VlYF1CZZkccPG9oc11WKWhlZlB5Q+Y3+ARUry+dVry6v6ftSMtowEKI9Ad2Q4mBCPP+ZXPngOuJJlfKe+x62C2KmO5xggxJWKAZNoPsDwVxjyfSOHZs3c7HAnKzikWOa3q7rMOKyO6sdkoFYRTQBiFpe31yJquFDDFUtNe7fpa3iN58JKv3LQE19w11Z21R0tdWmWU+wQUoe8jH/Be/XPg5nr6bdRgsP63L436rAm5gnHAvmOPH17NLoAbftq+n5w3B0XcJVuii7lX9BzVh46LxctbY/UAy0AQKaTl5qjsV3VgwmqzdQ1HSYF1Daw+EsMBCqll1cGGUTTSo0FpsDj4QTtkF1KYAYQxl7z6Azp/DmfRZjFzIVRxDeIutFo7jq4tMIjjUW1Ve2BBNj8tJw3zTxq5LPSXbHSANGYaEoyZbzuONAHlJAK9eWN2pZzaCCFTc5KJIoDgNBv/jfhQSBloBl0GNQtEfmoYjTeJHurF+25114sDdgJIEOg2zx3j/lhAaYzJO/9ZcFW92WV2N/cJsmC1Rm0n+cJVJYHlIToZ83rxv6xAR6RjmYt7XoOrwmGJkqU7OdS1F/Etffa/ymHdwTGOziKIXbyvS0Ls9DXSoYO+BjD3IQGEaBDrDjomY+i8kLj/3So2MTJrGTkxwDFiH9zksqRxY6PPzKl4skwz3DMCSaWTenL3bw0dcMOgJAA6S/wgfvwMxFXL4c/vkK07Ks0ZeaJUqCmXHzvhzHYfx6XAgPxSRRUdSofYt4+2V8OsLPjYMh+EwhdcvGRxN72pJIF2YvgceLpVVr03YutvvXuhmNLk3QJo+0n8gd0OjZpvEJl8htkVnMeo1wctKKcs7r3q4XlV7iUMFJ/Oedjncn+QU1r0U/hKAbdgdempTwKuZra9M6/ALI0qbk4hcRjFwH2IwT80wTdtSq11OU0RKjVD/PAljeBcAzjOX004BHnvNj7THTXjdKHE0xUlrUkf7+RKJy3AbsrupImsTiGMAGHuLJrKGHcwfzCDOCceLjEIFXWXmN5KXeBSYUiBa9Mi7+NAwo9TKicEDYHO9y67Aj42me5Rp1JV1f9K2/t+pLwdibmMxl036uti535NXqPkT49iu3UbiukBcWstGu89u1ldiQ5Nb2AssweRIuZVeU8FOhQTPiIhVXAFJgzM4Qur0mEE5/smJAduWNkaAEye6Vq7l4jkTkxpjWQKCC4MHR3JRq66wnP8JiMiv7FZFulrgA3INYZtQPHrI+w9dQr57EHVQv9x3qTefthSOq0ZLW7e4SSo+C7Dw3hiiRCh7DBwTmdEy1A/5Cha0NVqBuyy8Jk1De7fOhNrspWBJkLP0s72yzKg7578nJ1pYycf/TEI9p5gx2d7Bn2ywKAdy5UaPZGxze+nJv+pHQjtBsCBqsANMSXw/23BsIcCUvFke4UljbNiPWnPjVN3k/kQh5XJoYoLIrnevdiIH1BUJXRrtpshgO2s3exP2SbXseTnvp+81Cbb6HEgx7F5nAWVoszrd5EuhGDs3lVKWR7rpaUE1M6Ts4oPOpflMRNIYeznrv71XgYtXTgBcjvdad+2a1m4Piv8evRmG1VypQxd2jBYFZScJVKUus8xs9mfSxXko1sIF/sp5TFhpDVbc663xRU+LUSV01de2ElPcfHWagFqwTB0Sdaol85unUA4uvo8arww395G+Ok+uoHsQABi9F2j8N9noIijbTctQ3zuxjzW1CQzIIOVuvI12A33qRSrARu3bYk+LWU3zoPzoVSXBgZk2p4WU7/LL3wOlu2TN4rokeUN28T8qPOdPLjZO6zoWDfJXJ3sg55NaIqrcbn5kfTuRfVTx8OC5hIytizBxhuUMYpyjHyACtaF6QPnY/aoHvHkWg6qpyZbqz74UnUSYJ+XbErlouMRb1zXVWBMnOL3w5AAAInTD93H/XqB3NDWwP0MLBjNPlPzLfjjydTkt4/dk7VSR4i43bY3mwrCQMR4buAaoi+0ZPljz0dAv5jDaOqyFJ9yVGVW2ufq2A9reGdT/Z7o5i5JoSKbz3LSbbOySe4tjUfj9kYY4ceSxpd6WXpQdykjTGpyvAIAS8B8xfoptAJ58tH90smBlLon4/X+Gb7D0ECCQlDlBionqDQEBw70ChSOkFTemOoBFIYDyJE6ez1UyXNVTVWPSESlxePotpuiF74ff//Z+PZf4Q+sPlCwGsZAzlRP8pcJuANzhBt/LQE0PXxs9+WKNjapDzxA25ZVhZEZqBAk+pOBDkJB4QBK4Bc77zehZlbO23Wx0wJIZsfzcDTx7c0WYh7oxbmzSDxOXX0hu68OqPiocEWmdWwERvLqyLwPbeSqsLVk0agolcfsqbPIwMuUsqTu8bv0kVIyZ9XQzJn5EnmOuyeN8CMpKwLzJ3BJ6o9WvYnd8nZiROiusKNxjXBGaMZeX8UI/TyNPOz5dNyq47OEMOQC9sCp2Oldr3kRzPcUrdfuQEbo90Wyd61bcFBNj3RFS8HiisxzOfh5et2zsg+2j//uRrxNHpvAW/wk54qXRzvGHV6FSw6OmRYbVxbZFcB4TPU/vq1AN4tzRwitCk7JWZqASrfDnW/YGzRMpdAQZ+uZRf8iyy/sRjgGs4mH1kNzII7LHrcJaQDUlW+OEBV5YEgWR+HHX+kIn3uBE9k7ixCchNabSTZRRv6dQpsCPYj3UxsAxCIvkzsn0alWuthj+nu6OU8M05YLQwTQUFXLPczDK1M5q4ee4D0MesNJrEk/l2z7/mN0dsQmnoyhW6n9DxohaisOsxstDgoPUAvq7G9Am1lO52arK5zYCuSLC+AuZPM80qUZbslpVDn7o7pp/yHXxd/dN1I+RL1uluaM+D26y1/IOK3tkT2ItgBA56zN5CTrV5A8iTiih/E7O+Zz1PkW7lAN/TZW5qHK9NOYVwdv6wG3Guql1LxviZunCJYN3cF/FNYIJflcI5fDVTmOn7AGvhYXJ0pT5V3xjPwljExZU90tQBy1wPXA9D5GZ2bqRK7uAbhpmQwcE+czz/MZQAZE8crPf8+8B6zkb5ZqPN/E5FVEuSFR55IaezNFo89gHVbHLnqiJNxJ+NolGVodcLowN32qGm/mH8Pa7Ee6SWNqudVnC5/qMGKDc3KFaKE+tyfIqZe9l6Dk+a/8f1NiixlXGSGGQpqP5su4tFKJ/6JtbcOiWgb/QIy7LVErMvgKBzpGWmF7vAxP91pUCyrDAPFUvxtSiihd0SDmnSr/SnoroIZkjn4kD90MFiXOQniXnWdkHwObcVcL1JRVTuO1N7dt4HtyXprbQWAcZSiMOjd7OTTJ1iLXjArfnC7IdCxqD0n4v91UHQdP/u6aOjSikyS2klUGf6W7kbzpbts3uMZ3Hw440xSgiaaMXih2U4HjX5GLLe0tVne7A9XhvdLLeqWBiitdNojy2r64ylgxonDkZvyCSlI/AUYiHp3WPKabb8xta91X+2nMNGsM2djyEXBl8l/QDO3YnTmzqMA5nzkqJjdkTUPwmq+Pj6/sIElHJybxHfYpxmTroVR+GgA9D2RLca6z1g2MbdR6Y2BSi93HcbfQ+ZDybSkD5Lju+63pellH5PcSjnDH5g5hKw5cdRK+Srb7ve2lKtwAGUdO9v3cikSqJXEAdhsS/f3d7txouA3CxVA8MAK+qORiVl9Qncnxqdutrv7d0dXAYA/jwUAbt9yD43+Ip2K1BvutmwBrfNOJDD4EkpEmOw4frpEZ9/JEKjWGQSbcj8MADyprh7XkXUr10Wi6nytN0G7LYJGJgDsAxncw9OOhtnJf8x7cPqck5a7IaMT7OqfXRtaMfBW7dQh8U9QEmXOCAsm2jB3DF/wM6VA/rrjeKWD+PW6Cs1wvoEzkVGYRApZGJ6DTvExUmoUMmp8gd3GnxzW2moMVrjwHeYs2AzdYEK53PYPbIT09dDLzha7N0so8wdomC2BSQRhpqaZ+egfssBv3zgSvVC7Zf356gC8UE2qHWlYbFNfuG6I1Fw+hYe1iMa0o3JnlgAS9lCvsXqTrDkaP7WlIxKEmc7zm+0vOyFd5ayzLzambG1/PEvI3Uxtm0vCjjq2/e0ji4iYMtHFJtytg3JIMRltkONuhvBf91tmREbSI42SJJSs0krl980hFYw22FLMRi1JCxLCK98MgiSHAjL0aNrmb/YbBeOelN/MxAfO5rfjUtWklYTHLHjnqoUOPofzI3Oddbbqvk9DZDwBimbWfkWJzH8NYHRuJ7veHhzrpt9H6XKJF94JLuXFEp4gwPlAbhMe9LvoigvafQdwWFHszoX6so0/ywpklOQyadTN9crS9HtcGKw0cmJyVFPBmJFwuTuSUwRONhtj8eelbI8hYU0vyZemUs1fl6gwt3/HwVladoZ23gHunkrom6owG7KDMMU8AKiC0PPi+/d7ML2BgE3P1vgw6kjh537ZY5+GkMSySAjEDOptITtFvVM4C0h36jw3O8NdnOP0QDyv8fTTtFoKNAIVpSi6sRiK/+7nM7hm7O7aikKDBskrS1IoZvl6LBpZer/RhUxiCMiSbtZw6kiWcQOOslRJnahEVsk62w1MwTyzI93+QqBlyGgdPFRT/ZzYSKBLOBr08LlJ1wTTatpZNNlwEqT04B0/YlgnjLpYjz84UG2dHlevvPcJZRhwYbNr5m0yAWulXD/pqgZsUl95ZdYfQqG2W5FiAxtFNg2uLXSITtHunAOdmSF0ZuPZ5y6Mv4ZUT96LJlyZyORZmfktkx2RHAlySJLrhC0mM7Tue7B9FFWnWtFRi1TMDnIr+t3VNCXX8Of6GTttqsbEOOfv04KagdMDJPMoZzjKGrXsBvohZSXsKtQGMWxSMM+Dyro6HA0HoT/uFu3kipYsJzzhFMi4r/3V4m2AuWx3nAS+dHMtGPBm1olv46LRhBlNMxZ/pcvv79rKOuOTXr/kBbIGNf3vBtvgl6UJHCIzIMKvc5wivOHACGGLNwn2jPzibMUVhaj7Uqq+e1DgIedFa971nzo380OEOGYtYMTQAJp1vX3FJOR8UtynxmsYZz+MEy84XSJlJDCiWOm0rbVWkl1j5DRhbXfNHDbxoeJS88qMwxCPfsz6WleALS/TRPyaLEK6e7SoPasjzfi/4HCY+CxlplaxFEiRil8K2hJ/V0fOeEFLfdLTU1GPKDy+FmK6ECznWrtuOew7EdMEOhAQd7Zdmk03KW1NG9ke7VxIho0BrcqjUI9wHb4MdiewDRZP8hJZh646mRrAbfDd9D4h2m+5zklJINEzE0OI62dIYxxYztBWMPtsPzJ9LcFdp7yAlaIboabghUsFY98RACvU+I38ZBD8X7IFVW/cOsWrNCbrKjOn8H7QrgR5pZ045XukYRwjyPVTYfYF4buh//V1n8g9hgjkJo1WY5F1cQ9XHMgDaoIjGu870vfdwGLYv+Mm/oVCzgiQpfQrUdm6VnM+3GzVbhVBIvMR0f1MD4nzGg5qYzSWwfiqSpZVF7TVWryENkGbiyAYY+/vrhshtwGZzjIdM1mMA47tdWLCwn9AKGhvtXTCfscsVd/elMQ6hedauVLIcxco9AgYRI0Iugv3TKIPH675eMZzbaGzw0SmoyEVaNVDXLLixvLFoNO2Qp3TrZKquQ3PFEJf7Y9usWnXbs8II9TrPG2RYzFCpd3T6PcTrC/cuW8wx94Bpz1zeuFkoJQtoGRbvZzQQkz5xUYdheTLMhaYan85yEOygimHwa3Apq5TA11O70jjrBSMmljX15qxHUBKn+HX9z3+ZGz+dqgk+9Sw7yHMr/OZ2bBxqtfBgOsvWkzSBq/b03yo9wvZwXkBBtwMwEynjUe1MHulqwTlfD/FNfzRxv7Yz9EElvV+cn+HFJkgz/tab2L6S0lq5Nf9vVh2m8PgZ4eYJMGnDeJLQ6B8YUqw5OMyowf+HzlqUxTHl8OKO+AReo1zMFYr0rMWlSUTzZnr7YMl5p5KsJ3YwwOKGnnaEJdm2krIb4QDOMikHddgSw5szy1rHVxUcg4aDx5dPioSQSEwLU5KL0iOHVeXaforV9gZTzAkm5toTg8gdYpD+ZBYjojVdnvGI/HAA/ow4ma1tqeZHcUenpi/wXPLA5UZNelmucEVU2ZArYnQxHMac5OKtVDs2d+jbnAcznfmO/beUoR8D3b3g8waqHftCVTWuxTA2rPZK8cob1LLkXpXSlH9IW380sKzMu1bhGRoMt+w9fFQ+UuSgU8wvQ7u4o0eaEthM7mP2VoV8JT0P6qtgee9hqGc0VKQv7NiKSRHlLijDpUo/g9CyM4oS9uk1Q+IB5tGBtjkyLydS5wVWKWNea3zqRiIrCbeLiKvgc/WXcvI6Zp6+l4MOSWDORC4GLzbePQHilM1fuaHYOwhJoq2diHuKCdClqp2XvGN3yHpktmbb273R2bG+/+SnZKm+keBzGLbnlM5J2l4PIl5AIfvrjs1kYxM2+/RqmzshYVykdwxLJaFkAQZxuW3P8Juy+S7bBDC4IwhoEGzuZdfslIE+iSXAstUrujs1gYp0D626lmpHh/ZfFXRwxb+dvgrE+32s9UDq1eSfB2y+uDVRAtVcnVugjI0xjoGsXM5V0cclb27SwqmG6LY690KZrR/2CdMXGnMBdV06ocxxIbCXh/saRuwBoceRdFXUQb3Qyd31IhuUKbVhkbK8Ek/mWZ46f+Qx/TgSudPn8bcAtucDfvY4NZoc2zfnDm/WVSBGCg72IKTuUK2EO0/AXblSVUr4x7oaxpejyPGdcwhprQs0xYpabnO9QLlMrkErcbemr5qeAxsbadcma9sPLMcf0ZJiEua/PhjLwdVPdqll465xAPoENW8tlgA2+2zVDyjVJfhEXYBhCdqIfq21Ln+rCIdpZtM9UCmWM8yg7CkoyLF7HCCXV0x9J/SQpJTlUpmmaSNpJtKxzmgPb9nuocqbdb+xbkLwFZ6eVM0kuihL3VtncGWxTiX+x0AFdqEY6gSENOfJ6oHVuHCGXKap6ugwxTDGY69TdIQ0OTpd18NlBW5KVfH4wytUWweYUToiELxRRSTn/VTTwpWP/PWQLHVpDYOgUF6QiEa0RABKqxxuxcqzcOd0IO2zz+Bvosy3Xa7B5KzQAIrPkn60F8ylrb8cv6IDlpY9wVFT0qbQ+N6tVlRrUKH1GzaeGwcl7hvjMJQiGL2v579wTd6EnBsQvo4eWIKFBTlFGGzJHA+yUc46OyLZVbpYtWatMuP6/9rDdBiND76BOEdyLvknq1c5g3IP63EvV+5RLYUqiLnRbGcR1eoReIV0d6zjAEQgG3JWzGPwsaN54CZmWF3PlkZNqIDmTs+pBa6uktcNARl4xrN1+V72NwtaS+oxqQOjbtCOLjIA0Cne8b+YDBOWa1L9vvN9mxAPonnLeIUh2YnNqd4i6DC/gESL606UWSL0dBReqXHCnwGCOOGaXLpoJlRxWYM8AQsAjDXobC2w9gw+pnkG09WhzHXlw9uOXiJNJAdnNWXh6FXGh2MbzfOBcrwwx46pUDHLPoLmUrl873d84tH1KKM7/pnHsvck6/jpgWvHRBuKNtxdmhh9Pr1P7B2UEbLbCI7af1n1X7pAYELmnwd2g1lkXdkS7lvylktaB4HoZ/B4020gI/cXyyKNHvDBEA9WVI/s+Mx79ta7G1F1LWd8ZoreC5OLY/0x21fUgj9g1VyubJIruZfjty74GTH08tAsxZY1gWeXTTRWPI0z0SyYIOtCEUFIl8iAIWw0AKqVo/ldQbjpzzPxKhlDlLBdrw3Db79ks+PCjWCvnLCC2ltmK4U5nBtXyKGpCLhBKYZH/9CpXrh7Mgn7qSfzZTEb/VrmQwi8Sgmwuq6lLJ6cUlaArHSOYpkAzlZ6jCrcF/mHeWshQJCElovSKS5ShPagOVNRaAqG+OgiIFxT3qr4IZG1O5NPBqrH1ayu8rIHpYJNK8FRIuq7+jtjuG1Mm05LQSIjN3C+PQbmyPzr5YumGR0zr/l4sAMKFhoZBtJVjYuA441z9OthtG3YxOFSPI8DySS9ak3lViuPSkRHofTt3lMwtG+238GDzKxtw7jmbga4dT4NdFBs0Jh/qT6cDF2Bl52VKpSIRC5kmQUB93VnBZDsc2gqGMy7LN25f9ab9vuxNyO8J7CMmZdh3C1QndOmz+E311EMimoPR9pkS/yv2VOnFLea5O9GH5Yr6NgDy4KKTb4FnfU5dAlqdo4OaBPBipnh3YCBVAMfUslQWo5vxVApqnPp/140ztSjqFJkrysnuAabW95r2VbTkYY7pGNpCq7BGwjsD3QaDATbC+pAdvhR71hnBUxnfspPgr3qC9fiD+18xnJc/eUG5PWc1pqBP09KSoOp3b1jRPj0Q1eypyym+RoqcPK4uMeBW7dQfxlV85xhl2deodMVdTlQdXKCCanYW0PBGgZsed91xpWkk8lRLzzPmP0Rj3Lw6Duc4J7ezv8OzD/8ZYkuhoEHY/JwuUp7df/kkaNQhwCLFNCHV8yhsRcx0xhX9g7jEg/1DOvQUU0QDSfYUF0OzxruHu/z75yknBHiA5J8kxUeZJvm+IGBYaFWbwVJ6p7tOciz8rC3Mh0EsmOIsdQFMRJIKikIdiBW7d/aedLPfysqEuIEZLVl44WZOQOzbl4aLkWMXhwxrF91M5popXpRd4hSkqzDyeT4U3AZhP/DgKkvMrSr0HRwIHsdUxReLPKqGNsxm6/7UgZI0uUvn4J9z2HJcbc+Qk8FGr1w38YV7EvBEH+7i7issj6Z81JqKJriP8pG+1zcWLFVpDcUpD0k96l6rh4pOy5RY11v5tJyOYMPTnMynr0lzli9O4yv5x91WW+jn7UbUsDNeGVLxzTobntrYn0v9bCBl3tGnCLpodp+6Tw8+LOck1LMmEMtiw6y3Mqc7ep6N4r8mYzg+Qm++eUJzBwpcxK4ACQwWJncdXu3XuNrlV5j9HKz4Hdm+5vPQnCE52+bV3zcHceMibleV9xiV1vJtNffjT3De279xcGhMg6HztpupdyjMB3P1EtDm1wEV69p9215NlSYnblGZNOnnBtkq1JI89caYKRzitInq04leH0ovYRB3t/f1OjitpQU3CDHc3zxuz+h9tIIqjnPuun0RMFdnj3tVFGl7czBjFtUKFs9ToUA0a/RxKYh1NhYkg7iYUJRiRAqiUGcWTy1lsldwjWRHhEBfQF561eNzvkaC3OaXUToKgfefPUwUMG5vVKiue5TuxTy2uksCLmrUoEihq0lAs+OxSb3Gl8SVoiXHMWiY90vnPumNdXFYGP4vWUzcjjDfNGq7bkYI52uVaFyD1o8sRX9F/FL5kIitPEoCOyUhp5DxjwxcRX2TXfUUwcpX++lLRitv1Fz/McsHfFrMCMeEZFRZ9UjdP4g9AfOedXdTSoi3ef6Ja/juPvmrXsstsERPm7qlUXhQ/RfF3weOZNbGPuCdCfoSnXOpxYgUyMRq8yChjppEqVEqQz1gmGxvHNZ4uQyhMblt/WamTWhQ5LnNF89zz3waNmchuKAYw26U61Z2UHWdPQzz0X8SZtZ5Xdwfx+YVmd2WmNmUED87dqFTrpA1uoHY2i4kKZMIRL95/eF5+thWFMGf+H2BFYpoeegatNvEpyouSJNnpytyJ5Ria+el5roaqNN7GcT2FQyXiQ0WZczMIuJTvWIw4L02Bh1jcxmw5O/ANQEmYc/uJN2oOaouepxx70izwFjji3PxkdOxzBVvPzI01PIox7T90ozqaBSV/46kGq17typkjJkV3V7L82TgQpO00fR1hXKbu11+wT4Mln9vCpV+2LGqi3D6K5wldbxWEzlItttg0g24Nwthxc+rAlG+ufd+CszqhOMpDMlWkLL/h8tXoHF/qOsr/JDEzjaRS42pEmkNupJa7OZQgE7eC7dkl5PkRWyLCp7ROOYOXrVFR9WFFM2dio15rMZ7ftVerZpD+VhNvEMzRlAxWPJkmtNSJALYZX0XWNIV4uWspFFVir3xsaw8NprchMey9YCnlBT/6G6UC85kjEsTGkwNKMUM+0zeujtVBfqFewkXFlA/7XlYZtiGMcdXje5/lP4fT7Uo9Zqq3LJHbxT9sa/49OEHkqQLdlqoiEz0Eo6zrYaTFyqnulhCcJJZCq558hm9loGeQUssl+CWih2mOnSt336lWz+RnKdyoGea31SECqaJbBH/olMqK8ji8IcJpY6uow9MxkPOb2175SPfgaAM2LRaKjjvrgemj6lg92/0KYANc1v+7O4OGdCCNS+lviEUDcYRwshz1NjJ/gkv419ht2PNm5vZs5XiePHWoVjVa+gJo0Q2KIU23vi1zbxoDT//HqT3zNMDv8iQxFuolw/6R5ugIvoa52lGTpPCCTojU0jo7JorHDlEI9FyTFPmxu9+V47Y4CR6vRvNZt74RXfjLVETKwmg0r6JkosPqoOJmxRNMf2uT9VEXTeJerCPmd5xoR9ip+wRAzViqTmdaOya+QM426hdasR9cMI2a4JBP0gGTtjqXP8aecXrAU9GAmIfHFMrDcWva2WbpGQT01qZFk/L3RqjnmGj/iCgY6bL5ndD6ATX8HOVdwJOUtCjpFpM7VM0bTgEtt4Btb+teBA7hPnR5WK2JoOx6tRTXslbzQTTU5M6fWoCf6H0Pwc9FIhpLsuKAsRsSRgdff/Z+q27MiMfHsuzf+1+El/n5mY9IZdjaRMxoKgas7dnqEmNyqDWxZz9wrBFCDlr0R6b1hYtbJ5GfKIJpApawb+KJG+PjxqqNG6/d906mlEE4xg3Ct5uYxX22mj67tIe4f16tCm2BtahMEsys9zoFd37VWrestyIaVz2W4L3tjc82yDBIDb1tKDvNQFB/Vat00xIvyoELDMPJwK8c6M89F/x+mrZb2G1LqrmkmeNOJE7Aicfk9tjEGnEXL0rAvjoA/Fp59es0wSU3LnO+qIJ6c6Pz4viy2mTFdwGB/zCvYwU2GfNXEZjrEoSG0pDCRCWqZe0pfrrxOD2K+UbnaZFlESQy8b9rxRtiRur4o5Wlf9CfI0gJn7AyqUGJj4EbfUHUCGamemJkVJNf7/f1S1EQcdNAgRneIrPFJ1jiXOVESFPshnZy063N+nYpXl29tz1BrkdBcBx7ivkmCiP5774tD9PjFEN5lNRYmzfQ98fczfQZ3rZJSEOKgqA83z3gwYUlYIG7ZHRvvg/gxvuL0k678v6KwrMcgogZY57hcuf2CnbMl20WWJMHsQCCO114vhnw5yZkxM89ONEUt61kQPYK7smDo/UqJUfPcRomEiKZYpEQr3lbn5sVp1OiLL2HzSH3NVwQUTtLtBfVFefNF0xuZyQw3XaTXm3Db+5VmX7PLG+NbmNz10P/SsZMt7pd57COBe82L8o8mJhVf3YDdj1yaz/5DwRau45kH+s5+R2vNyQkhwn31Q77Mhez73pbTxk+ZLXuGz+VEnRA5h5ginoEne/HROc8kqTA+TaFk67wGgcPf22gPSXkMEIWC9CgcMpvJcjT5QJhdSNOFarkzMNfiQBHKGx73QOvtvGk+s/7Mro+hQ+K1pZOWu4/ESXl++x5M9/Wfq8yM9YmBhpyw4Tclkurl19jAX3RDvhFCmKvuFFj9E/0+MR+51CPptA7NLxh/cegt/R1I5TFKlvduJVtgHKoVjDUTq4RE2uPYs/TYGTUMcJjTbtlcHa0O8iNrsDBxINtsWkRx+OnyijALCzzJ258LmvBZjAy+0QV0gR+UcxgJrqkTGZ9Zfvm0qdlkK0PMH1r8Re4fdsRHa0XQDtWJZBAL1tDoamFFVQ4Zu+si5+Y5sTVYv8BfmtFv/oXHcKADwmlKu/pm3zjHId5lfNmcMKiAeZ6fnVdZBqKdXbNSDPW9AkHdo7gpeVMQBEoPVKEf9o2O4Ejd+3kRBBa8VJxvRXVtMqmREystOv2OtzDQ9d8VHCgLSaUlUx5y1yidObgpxP+EozlOHnTOctWdxu87fZa/BJDUXGoQr0UxPgXssxS+zy8rDfwlIRbYNZimpEvrJ5/RbD4Eh1gqj1F6xWDrzloavPl5hD9lgrQZDSg7/NqQcm+Uw2cQeZzXP2pvGavOYi4uNBUweU06ianpOrRDrqnwKI1uNFP40vfYCxUIgx7vQL9c3lBBtYQvC4h5D1VTCcllK2SZ6MXlF2fcEXpo88Hh6C60oJZHBOvc+n/8eSxcyudptJxw0iceiJcYvmkWMs1ExLgBAUa4yE6G3IAwRNsshKfLLGODn0mWTUUmi48shkPt2vnRZgBhXsv/reUp6hbujb1HeDrWk8WQhOddRdUKoJ88EquSQZxxlQNDGv9E5/gEttaOtZZPmCTQxKp7tIEAnRrtm4U+tEkaeLcdpW0kk+xpxspGH8UND18VCqAzUm4+B8b2Qt8njVuJDyJ8tsS8wrAZB+R1HHGq8WkOkDutekYX6lZoeNiv1Vzk9dQKI6aVH1+laWWKWUxIER6PxUTsPMnTuLRPebqytQyu4C7He5ZbHmdToW3UAupfbtlxIsFixZZELBMGimnIPE6NjYnL+N0HbGmigXXg/Fu8g9u4kVE2MUdhnr5E0DY8syueMDArIz3By2E2PATEJSd2k5FXEb9RXAEO0KuouonbTobAb5dll+j0dpo/UAwkoIfUyztjPh5Vv6MhUz7ztsePHDuVh76l9pnidNG36W7XqwxYprw4plzoRBIZARcUmvs9hZ2tw1eXf+2MDivWYVCmMPmeRhE6DH3u1DMtjy1ALQCD9RsUVdCZI+ulgEer0+Ulo757o27+rHijcfFcMWvwRwOWKImjFjoPlSvlmIR0ppP9fYXv+wNmRy6AOKat45LyKienEmc9aPCOudszIi1LauHexGDBiYLxVoGt17FZONAX9Zk4BN56lOlGfaxHlQGh0j9iwyijPTLAdBXGXdCGZOh2JnrZtU24ZniKnzrCNu/ynGHEg6H38jrAK4qg3H6c+5ojN7VBe8FG8bDaHn3ITxEphmEN7ERy78Cq5QW+abxWqkU6bcZqK9UYDVGIp+N3uGdbK/ZvCyrB18/qLvnoyn7x3fPx5l3J2E4cTAiZKeEZ3ltHrLOTcdyJKifpNX7SDveOY0c4LLfIQj7bla663zKw8wMwDDG0IEBYYOuRrkumnPg0ZPjhD04Z0q23fbEXSFHTkbrImxwGwrOOEanjXb71NwvuuNX6qC4B7ZtDchIMaArU+Fdi4QJEZksDo4gPg0XPNcfKQz89fP1+Dvr7Y/xQ8NrcwJ8o9TPfeTQ1IjJnMij8enrdACxEHSkqr4slTLn4P/akxk+o8tsSCGN95+KaE0Ai8MjO58RkkoKq1xqyUClwCt5M7KpqJn/WjXW5ZTqiJZRxqqYZisaWTr1VTdQM5HBdbe4fHUpDhDl+sA0xYtqAM5n4P6nYfd+4XttdEMtGCuM5NDv2E+HUVHNTTggqeNuXaFKRZScQOeQvzL/sRGm+dkkzzOD+jHWZqX1SMecePFYVO/umQjLOZ/U84M+Mj1qp/NVCLmJysXC8kT2/cVpmWJwsbZtoBGadjq3rP3jfUWfIwejqC89H0KamegJPJMAxXjbKw+OB7qvpjZtqhQ1R6N/zVYr/a5txskvYNVuINKq/c98t2Vf5zqZXM7Y5/CI/e9lz10hsCU4JFEo51lvK/hUbj9qDOmQcFwWymNWpdSj4C7jgAwPkPwFlrIuVNkmIL5BCT8DSOfbZbOuvvRYQB/MVGQBTSxXAeaWpe0vCVAt5IrQA85P5ME8/OF9U/F2AELx2Uj2HN73zsuddIZHnmgdoY3PerXvMmUxFDcs27x/8fVwiv6bvO1gc+il0ZX2a/oZTXAiUKLrClp75cYUS12tk2HMKJkUVR0Mla01fdS2tGAOgrU59ZCxl1KnV7mN2fDb4QWBY96HfUJntVMLzZrlv24sUnYgC9ACxUbb6G6egZP1NP6yTCFTO5NTD875YXUmOwneJu9yMldaP3cygbwekco2y3UpezJoXIUvkq0K10HhW6fhfKcEeG5poPpTKEHA7QD5bIKEM2Ps9irSLKwUAgdejpEuPE6C120cksbBGfiNZ115C1POl+S+CuHoSwNY8vQevR0/aaj2pcnBak8bDdEmScnlB3QBv86jeMrPYsk3To3Yl5mo/pbiV29/PjXMVBl95JY8FRDYObORbxxNEo1OO4RJbA5NGmRHAkz7uc55n6mBmj9dm7x4K2SoXTP7SWXv90/5kLh2eV8Zu3gNILdJM6kJbAvF3/td7Oe+TWWVPQ7zSs6XgyfoNlWDKXXqRQgcp+VMcpPvCER1FAbjbiRCTOgBfzd74vamOuU3hWsPM7P1eKWFJtO/GZOqRQHYkgzIErMrk+IWd1O4NVzLZGbqXjXghlt5kG0L2so3hstUVyk6os52xlqqYErvyzQmx/MaSHtE6Zo1qn5VUCRBX+bfeU8PCWq9Zrqi6VxmjfjgWPO7gLgs0URjD7HRwdEefJxVG4cxdW89wTqgZKixD9A/wX6SRdwLeqCluv1PM6ZeqxVqZ+thr09eNzhEq4i7CSuSON1Jvq3JT+datJNIWUKdKmeEJZ/g1v2gAQl+pjiTXc4/U/bx/NA9xqcwBRDrY0J+vSlKld/F44Pw9ik+JBsCj3+NET/Fahgiejg1kEppSqnSBzmb+coQ8Lw7VV4QdikTQxnigMYHwxCEetNdpc3lyIrsxWq0bKIj3BpRwOeL48OHhoQQl2crKy/FFlM23RUqGJtSb+O3BWAdbW7ZaveF5U60OGkP7cSW20VjjdteQqXmfzNq3AhbdziTraEEB691WDFlb6FTMWhPVCDcW/matSZHskYGP3lO18PNZKCsNLxMbakP+8+EjtC0qHgwlBrXBRpNcgGeCNEJy9hrnT/tLlLM0jz20aw7FLRJhV4ESJZP4LzWhDL5QiGb/UbDBnkfL2d9GustiKjRhKf406AbyclUKCn+9IX/wW2ArKhg8TprvuXTvkyEDsEVJnriMbpqdKBtfgRv6LpHjRf4S1MbaSI+pxbyK2ZBvHiyFPj4Z1ld1/0Xg7Rg5gBgyXsGBrRUaKDhWjvZML35MbvWSgIXE4LFilnD7AESVoEIndVRbPM/CQUkt1LSBw40ketvNSf2+cyyxPGKxreOeQhnY8Ibk7k/OMS2AMwGlIIPcUkXLGjKgxTccQVzZYFF6NKFoT4UmzgJJOwX7jdU0mZB89UGNaksAV5JoLMd7ed7NUE5RC8CooYL7JS83P3M/eckg0YoOYY9ellntvqLsY0abD41MsHDDmBMyonksD/yReQraJnL3f4XR/Uoq06m8oC85puz/YQyYeqrIoofWMwRx3t3UVdZgU6tBjALqW8fmybWpUNyZZXe4dqutdcShfdEx73cKULfeWBpZIo2mqKB98sbt3LQaQiWYQA8FBbBSCwUPd61SKiOmRcAyjQgXK9UgOs3Fj+cPhs+8pwvdjl7IvcNIkbr0hb61eJMdPCqB+UxB1hqgJ/7jxhOME1G2Mdxa9ghpjIuXnnza1GTCENx96ysmZGZpahZy1iawzaRWeYl5ezehYoa9OKW2ujClgITJdw/zFG6BsuAlXot7kHYPLVlhB+VgvzhHEYj5UbhM+ezl8n8DLe6DeCzxFO+P8cu9SjENZhbfXaweUOqR9antoyt6PtjfyWxoUcRCdpakEbcRNRv++hWkhD5MCwELeymPkY57tduYn//qtkGhlJiXOP3poCXkj+jYc4B4ro0rDkGVGZZpgAE1d+CrY+5kV62GaBQL56Pei/fZPEZPBYs0Z7/26ceqS8oYWLAs3nYFJRCX21PP4VEwLEx6HJN5PFl/dhOMxDBEm8fJmzMVtsgukNv/IMi5H5kLzkl3v0sCuwwOhTpZXRvGzPvFOELPDIf1CFAaXrQ3EtwsxmU4I06nS3RgM3p4mVJR3RrPSF0R7ljbK8c315p7dOFRGye22J2hcw2t0DxO4zunhmyeeF+XwLWry1z8JLfBPfjYOR614IVgROoH/pZEaRcv9ya3GHKQ3y/BM0hAEyc9stkHjmGM+RfVX/ej0PMMC/KUlISZ+W8f97zCieQN17/xCuLIHTtf5slvqRXop1oez3esrgkY/VZUM+O7gWqvI7yMH9GxSBX/ZGESS6PfFlMAaTrAOsjQw2mHSVu09OkAF/88/mblbmVL3GkDQSWvkLngYH0jwuvM1bYXQ95hS5Y/kSv4Cg5rjtTeZT4cOx1KQWkDxIlDY+j3WuoAIU2AZO8jKGXZPNpAvToMFTrcUsa3Qy54V50x+MjtHJel4BhOGK5EntS9gTzGHi5vrgpn+8/nc84LM0zyIzsjJnSPi8TsZllHdgcT1QSsH5Kye8H2mymv1MjS9SjC5ldSork/nP3tG5+y60cHi3VyVoF2/LRzTVs5uBaM/a7LrJKH533o4KTSSqQUf0r66a5LyPxZEENgGP4kh5yJDBqaS7t9hl0TCs6PNyV/9FlGk/GwAZIu5oyqBxNrX+Y1RoDIPJ9JGzgpgaydpOoCrhzQmDb/TVgWYDIVaFv4YH9GWBZyvh7C3Ncte0tngEmWa2r93eTi2h1Zr2t31rizCrVYVzmfmodj74xCKKfEB1dmSEpoyrbAuVQgqmgWxhIOKE7TD76xvDcwrTivCuOF3hwC6TxCz99Ssd9uDT5iK+4/xts4xcHAHO6nQPQelPjCtnD5dWDkcVqSwKC7BX09jyJaxDzIJtXAm8wxke4oedpuf+tR4jemN8MNyY2wLsRqMscZp65uD/ZyNObZwbbWivy3mo7gf1xVzJOaVssaAni8TZo5dmLCipYaOvjaVd1j/njIl40X5QAj845mMWKI/QN6Y8oZJWOFB4ZCqMhVaeyU5Dbuvl3GCOAGwEvfIiCnjLTZWBTMBdt0AiQqjtf6+PEW5ptiNef+lBIS4q4qlkDBRQ9z0zlaUa8QvbYVhMT4kZg6qtJgyp5kbr8Cf5n0cZXjR2oaMlOp9A7liUto27PaRKODlPMLbgrJ5/UfUHn1q9BmGnBu98w5V5hCbTbbJyme2PMYVWlJTrP+xj9OfhC0TC/dOa8X70BU9/KlrfGxTmvZoyTBwnJTwBnplPr7MkwyH7+33pm9VfzDS0zmj6gYZXFBXK7Ycv7iO34bQucCtLe9NM/+4rZWZ8PYnpBKsIoeFUvxq+6iAOWOv2YNruPeghvE/0WdEMf65NDlsZjuDB6ypSjMnZvTmX/at6X3priL/rSvcZr+m5oCdEu/1MabaQfKBK2G1VTgnpRK/4cSvL+UuzMvapRLS7xbZvqPuw+xuHJYpkn3a1BqAPDxsuu7sXKjg/KemyO5157vL4oP+um1xHMeyUvhDeiBketYl7MdXoiwGOVQYc42rFcZdf/WiTNlTc94uaGtjp88uI6MT+kam0ITXtBF3ABCWibPXgyV1hBfKhjcjXwhsS++Pr/8RUOOpG8rQmURQrJGjZy8bO7jocWQivd+FjKjvS8QklDULrSE23EGHFEOKuv5necOXvfThQsAAilPVPAHsF0PpbBwSO2uDpRoxPWLFj1iYS7J2u+JgSFbJ9vikQ2jhe584rsqzgcHsBSquTf0I5iKP2cplDEOThMUbL50SGh0uq9iPazZc2VmTGGEc4f1qW7HavnAzjS0BN3AbM+5u11bn6MPQevtDnF256HYBSDOtEsISVQJ3D1sJvKW8x+SDCyNHNe5cBV3MyeiCK++oxGNDadqT8kRupa2w+1n7FVj2w9eh+5U2ANuxYVpQKQ9Aw0zyjK9t58K2rX7llaHe8RbT4zTtEUW3tCQvduT/nvqzMoucHsrP6vFpBJpS8sodwmKIJzaxItujRc7MTEkEXZJGZ+x5iZpNsILdI+KlSxCcN2iW7468CuMMt0rTwR5ezy1MWQsxOtWil1Oh7RnscXcZRKT9IJPNcgRoGvXERaoLlSamyweMLvif9RX8SK6BVv+4FPjFEgNDxyJG9FmgDb3tYCMlMCawqciiuuLYcS2zNo3gVBqmMQS33AzuOGS7WM50LL9w7nsYqM5fdLQKpTWugTKnyx8j5fEY5jwkXmIDG01H7FwvDHQVvFw8gkapTs+Z8Wn83BlWTWr8MC9RvC4LogCQeMw08OgrT+x5Lu3s1r8MdmTzSmVIG1si+qMWzdkTrv2dODoPQSKFRPAaXDf8iSRg0fLQIsa4RtCENXNwU8HavbjOxOZcpwsKMNutK7bJ9HKWxDVRkA/QBQ5YDsEYD3wuNbGVHeWOkEv4vTgy5bCeFgC1fTSUk94N81nA7dAJedGTYIVCQ70KgGcCxNPqAMcMuvfl/HWwwiNd+Bxc8wAavJ+QedCPOrSVhDU+fJqmkjL3sJBvDS+PPvHhVMRRGpKUZs5QLEzfwdTYdAsQswGpSgoRsWTLTlmQ9xZZR880HzK6Eqbs7uEiL4/wbEui2yuOc4iJr9PKFTeLBjOVi0t1KyesUerA7/ojzk6cbaPBh3x84Ft73vlBQMq8NU6PmtyW6dstwgKIFTrkxd4yfAXd9TjNN8ikUBUv1nHZSbWcx8OaJUwi7oAX1kK7Kj6tXLcqddd4cvCj53D/8JavLzxLpUm4q2MCeGHcl3TwzX1qDUEjxxtCziEBQ4HlAFFQjERxisTucoNwM9QUMBVoIm3FwUStlXd9dLSpCjkKIG9fKWxjPwFO9EE5FAmP6y1VW4L4ZqZYFPDIK8s/4T0MwtHGbX3A2glAhfFA2japH+2mNBWHmqXGOAQeKbrhqrs32bvUwqYpgzZf0OW0bu5ePpnLylcwVtcHqSI3CVEqV6eIxScO1RVAPkwUwaJ3otMUz6uHDOmQnyMR/8AXk3zEFD9x9Dvr4ZgavjpQlC3VziSBwZEkuS107KHAg9qY15fo3tU4I/PQU8Pn5XIIb9MOVKynMF53iGqd6xECiwlQVlRuAKHWqFDox08x4eyXFYw674t7d57e3STLN5Lcs6yueWz36cA7ZEAk/mGkzKNI7Lipm6hggK8rNKmBfc4LRM78RjmDJGpfURyeaYn83HlOIPmYVY8XTbzuYsjLbsOP4FuicIVX5Q/wrpA9fIXrty7t68cBnv6sdHYN6POl09VMllJR5M55pOVHA225kWk8GuHTPY45JmWDzVHO1dVvzKy+lDsBU40proYTK8wFpwbSVJz0PhYvcXB7T/A4YUuELSiNzfrhEzydCj5w8txtp16IlDtawJTCh+VKm0OVaj40eCS9j1ipiTaa9pmS6pjZuAxOWyEtrnRaPz/SyPG725Pe+9CCBcSV+pLsE0epQ8tJvULPPgiFHgxyBCcfL7sBE9EXqjWkKfUDGZBb2Wb5MwCyThwqe6q7FlZPe2trTuanMeuAMBWCxVfodo7ExFqeEZGsn1OpZy3aYrMpVRkLWmX086aRSGBgY+kYXj1BPEbb/yKdpfPA+S0HvTXIBEA3/EGd5URdIGEgSBGpBsVRhQX4sFpQCEOjDNqq45+j8mx0wdpgdsThDvpzMx/bZWyuAXaS2DWct3vmlUTXpVajhkX8ONR9zewEhKB44Cb7AVVXTMQbi1B/7WOQNDoWkZk1lWxx4Ba0bATDydiyG8+UyPZMp/MO6iuB/Go2N16GKvmuH1epiZGR4C4ANEoejSifhE4ELA35o0SPgA+m1zSY4sxdxfcaz9GLVD1lRa9M7SrTLk5TmZB5Cf27JY6iRQheEQIf3cPIvL7enEWhH3dB7Fy5mM5Vdoy2yQyowRuD4FcWF0yrj16IhRoGqOiar5UZ8AF2dDHgY3AiCBXPoAgyEcEIRqqMywt/phuLOD+KMpvXE7YpncAm4K8hUbspTcilN5oOiFa9PQMbqep7+W9KCNgVEecrbZgz8NUmJO6DIN+holXugewD4vz9H+LFbIhzU0lEH5FmqYhn0YrhpgXsZ9axQNA2QEEM+mXiVv3VC6YPs+nJ1oTauua/fOljPmy9hJ3ZIaQot21ENc/MgWHvMXMh1buNPGxcpLPAje/2koGaZPOwFa2wWabhJ0VZcZjRPCNPAE3CkWYcwnx9z8F1gj9Q0AinUrgCNzbHiIeV4qUp0rTjb0zL6B8tlzZj767tDkEFVUt9AIflfCVnp3SBrsadZmeYyxjukPJvYXbxObKCODUFXDsWv0zW36n4REIZtocboQvXMR/K5nS+OA3QJppynPcROkUg9fuJyJuRA7IvdSt170HFRfCCawk+9pf2kqqYNnrvUKk/mtHNO7pwFqPZi5KfsxijY550y3QZY9d1IktLs8eT4a9SS6YVkmSzMJsBGHjF5XUT97rT53Xs1IPuGIVOpepXwVEZAC8COuqOyjWeZC/JQJgaItUTr+9UayHLGha2kqslY6X19W6dCQUiBIm5UeqVg+ejkGM27BhRlvz8VyG97rVpjB0Pl4HB6pSwNuheFRT+dsnaXkWC5M6p1onu+IjCtpJZxsvS3d4dr/JuU4kOB5wy4r6wdbc5p6KBGB9P7Y1bBt1HcW1SfTtEPpaccRu8CogDmJJP9PcCSXZq1J4Y+Mm+doxwMYpk6JEaIWgilhvHBJwu7AwJUXhLdA9LmkV9oYmGHJhZd3Os/Fb7Ax+VeV29tnb9yOsDjLnhtfkw0z1QXnzH5XiXRnc+I7x2226a1yN6l9lJWUMd3zxljRCjjZ9yyKCa4RiQ40QOsgcGyY6Ad8pnienMJ4kZ6B8M+aU9Q5z+W2nyCImbWN9Gdo8RG5N9rJFSZWQl4U47glp4bQR0/UqN9+8d3/uFvdl00Kmkb6tbIhrSBG8YAuddi8e2V4u4UoxG30rFzig3AkeRGuYZGChPppNaPd4NcPRNXgfGpjxktn8ebfBpr6+xUVJS6+gvlbn6s9BdAp8YbH8BNy6ExseMJEKwX7GN0B9NJF5IVAn5V2/+887yQ3SvEuVs/5xXZTaHAAdsDh2MsbrWxZLyyNKEmC9II0uQVSVIlpOdV6htnAjbgOoe5GHsvPEuK0NNkb0I5Awg5NiQA0ej7KWkdpMOSFf6ubx7jqsli1NJWA7+5z0py/zVZZ/4w/wZp6tvvXOAH0u5P6/Dl9vGhqBt9UQjJqTaqrCWpM1ExiWPFElM0CebgCYO6QOsl/3gU98vEeC1Etkch92D0cYzNwmsXN1bEfNynMc492XRz15QXbo0uJgb8XZGNzNkBBWRdkEgJPphYsdn+zpNbrqDyqtuYexHgg5VM2bXe4IHYaFHwPh2lv1QABkj9rgMTzET/9coqeV8Va74/GoUOqDOptsGOf60rMNc7pAkXxRKsCzPpi/0l4Bnu1/d/SxEtpiUZ2aiOqrBFsSUiPGy++tHmmQeCTt9GbQ2Q8IAQcn0l4MOwv5Sqno7hV1JJs1plodv9Jkfnfpks2E8J+Qz82jA0V0k/FYVvXARQlotnUUOlzOwnfddzQc7Zj/kI46XsCespM0wxC6GWwcsvADSXFeqWLs8SWLXijt7C21tbmbPOfI115HNh5MdFQR2YuG7iYeuVYfg2STRTZXWKaKvly0tc1CqUfI4lXXMLjLeY50SlVOdlfNTnVBmFLqIidccFLcJTSYu6S5QiMiu0AGnuaBUTOUA3cVJt4v1dcwwjEztPLrNjRfU10fbXbUjpVEip4GBZ502gM3PQlscnspj224fGOWMk0mgl6aA5JTrSMtwpU+aMerm6OEwl0DQsGzsEZHQDNFYR0R3Dxsk7LCNK2Gc7e53xgGmwwCgFXsiEhYV5N6MpcwyRTL/sPZqtfG6LGY8fDvxQ0swEusf+EXtTHaBuaxHRRvyCv7W2GS1wIJZkwzLQpWv+nBXVH2ZPy2hxsFLUthtUB5YqBzJugNzMjZXr2ZOpOnDoxD6TkLOVK9RuUOKOEc3F32+mF06Omu4998lY/XK42WEpV4+hVVFnKbiu+ZFq1tZMMXPX/VnDBt1imJGThxa7OECMXkR8NnIxsXPdao3cXBrsB0HT1ua4X+j9Zit5Hx36q4N7lecz0YVK7/ZpIh8+uRhguIUTKsQKUnG4ylVYz4Z9nBVT7z85KIySmuMSmt8BMVWMoEWUgjbFTNyB8S29ZbWQEt21wDkIYZ1yJfD4pKri7nA+SPyZ0/B1idRnMVSo+7dA7lE4TIKsileemVLhMPTiB1+O6XEq8xyEoU7M2/6BpCXFcOayiSiXKCni+6EzO/4Vs4vTBvOoIBSGJnomBGs90hvtDts9HACpwzWFL5E/GXOTm1vIwYAETMZ/AYvX+OkDerGVg2oLOxubGWVrSpDkn5yyeXQC4Cjf1rCnmiEW/kbX3XpWPVayKb0OOTt1m5UipyZ9boV1JBPf0pd4C1biK5w+XNk24rtjMSeL++mIOQX9pMzzTQF4OpOisrU/ekTBTVujwUBHkFLIsVDPJGqwzl+WMMubVc6p49kJdNbB3ulRwZy27M0Cf/FmWneK1o6/C8HwbxZEFsboo0tdmkrTsKLLoB+Zg2n3RprvLoZGTY5UsdE8fSLlqd3BJhiQxsUnU5BNYrLmhHYwAw82fRiTY7ryg0IrFXcflYxNE6jrsZRul03Smo1ZPcB4BKWHKqSmkOmTr8/MpOVnDeDe7HMI1ZuPi7+34lyWA7yp1ivhI71BU/s6OKALI363At7MxfvEfV5HwHGXu8YktzV0jHY97pvNNvy4o6pCQvyIuUdtLH5uDP0sNM5TERV4ZCj20+epGi3G2Yaiopt6UqwdZPKjTPEcB7OdwQ74Ro5GwD+p4i3RYGXPNzVsL7DSDqCDYgc37VgGjccbD2LVsto0ud2HTE6CGSOmSRIntncPfeVLcsQNa+Ie73BMByF9fgZ5KWUwC1uXD1yAFPFl20gQbd+oTsdDMEh3lrSVxxjXSWypp/r5YN/J/QmyqtCbUrw8nBjTDkJXR8MhrPocrFeidKMrcKyowAaTwVOP74Fq1fiv1pjplt2X4eYWeTQod69tYQsdyiXVCiKbyfrsghowrHKXP3f+5foATJkGI7xutabk+X0aa6qrLiApto0WOdLPfmF+uYhkEVKLxMQNKCgIUkFWqRavxR+zIsdlgf7wRHccxrQcgfGk+JWochUzhwiCIUiPDGNycNMskeFbe5ViC2qBKg53RvkAqrNdnTvgsQIB1BRTmVD9iCf8tQV6UcJA8ZrF5jGIBpwsv9AodGKM2sACedSmvO4slEqAeyIn3F3QsyStR4ooGNML+65kybPg7Zer+HlG50tFlG8/9ktrXwalMYTmeb/1FmjxanVWU30/ZyB07ytCj4gqBDMyIeHbFxVIoPJCw1d1u5qCcHsuAQbEWc5yLB1rYP7Dc84UVNH03XnnnRu6roTDcQ0GfWkD7HNTRvIZgvqXBox+4NEFjZBswlbIW+ArXqtpTwCrVr753XhF9UQVkX7c8wV42tmlJnLRMF1iBlm66yMu2KLN6p3bIiMX996iazscZoVedCoCpREovZDqBhLRpJVDNlNw/gGg/ZSSnvPrghl++gqDZecTw58violIVIh13bHORXtoDZqtxb7TKdG7loqc66PRMSLcIuwB1G50v+MBW+WJwqkcsIux6zHZU0eXb7AZm0nWQ4eDL5tyNCafhKDDBDFWT6BQPNkn6wq3FcPjF4WIIqixiLTJq9dxlEcQ7pGZZKjQGNt8QTqZwgpaoY85d8K8jrcfNLsx5jrL/ngYq9uUGncCNhy118Y3+MHvPSFXr8xovHyDkxhTnKIad4Wiw/OM8333iLYBiJd/XLqxBdYS/otxoU08yd0cSVdVc1k8gN3hqCGQK0GqluJhyhXmb4tkVKOZ6PgLAwu+9MF66MbXRFFgxccVgfeGYY8oji9Q3r/Qd7GaFy20Lomh/lP5iduhBrvQ076qvod57cp72bJF/EiilCEXkrsWqZ58/tOVDvOEWtv1VYgIDAhppgLUkonayaXvlUGjei3m0EZLs5gNQGxyIOkbXTgUtqOJFOiXQM0lxw5ok2eKiqY2Hp1WZ59v0Nxp49ps2LXIO7gTx8vQIhKnIzNy0PVlcaNe8REO4qXLow8i8sMeiFlYRlUNNVGMj7d83BNEUg4MOtHJPXkxpTKmQutG2h4kPBixXS8ym+PrtIKvesZh5qXVmdFacsih54kIko1Gip1YuLSweTda0Fc1soK26xmPFgQyuXAxHILcUuWIhuXylZMDTtBscT4dONIQZ8zGdhsGXQPcaXr1gaFpR3Styec/UeuftgVvDPYqi7ZJfZr6XNZL2WuhHBP4DM3LZPVQMfDvNYfyRn10qEQfV8dNoRnI8OF8Y0mJM0pibJt0Ww9dmSUlMq7rsT0ZAsijD9lyQl75MS8dKFXzhdUMJAUHDfZ3n5zfzDCyldc7cXVlABxprzKcpcBL8hPg1WPbBAXf+IyFgQaIdzpqvlhIMjRJ3/ACHwsdgqaxc61qUTe+LQxyTT6O9Xou8oRT+mKQNTdysifvhEoSQIUL5jT7AXWTLZ9UCG6mr2BmsphXQr9Vmhf2l4CHTYbFy7PZQ357K/Hk/ATbWV5Q7k1LlS/OM/np4Idzo0iAMjwzmgyjGAlazb1aRuL+YXOaM5Y+MY6gGvzu32F1b7Fld2Yg4vpbsvZTppzTSDJTANU/vS1w80cRyk+rPRnIqOTdqhw3ZR0uNKf80X+U3l/9tHSGV+1i+vfTStcPkW/ZE1ySe9KpO1kOaHeb5TOpE9bkncU9fJhWud8/5dzaGMuNYf1tvE9MJdg+XCD6RNp1jP5HzLxXnLwS7lDJYciTANtuqA7Fdj/DtPZx71+XNiVqTcMOV+EqOs4bz2fm5TCbKqfQuG8ERJpJfyhdlc2H1kaIH1z4guZdbupei4KVBiizI3fjmTFbxHECg2zSs/TthLj6MJEqvdah2WSUM6pMc1bCRlc580GarRKWcOyLKiD81/6MuRsydSYCk+tvPcIiE3FfNbbBINUyiVYXpT8audu5ZtFgd4/KVmGszWjkpAefoKIxlqU3FJ8aoE40bc7XKng4GBwP4XFSB9Zn3+A7kH8etFIt4ANzuI/azQJugYhdvZSNJVe24bmFez+NK9QPwSrJ0BCP8F/1uDyR4vyz2J+Ktcxzp4kKIllqt/MWra9vblAU6MjKskYCrTBL/sLeDIbYfnq3VE4SRHpPMiolln5CBEZ+hvwIALFdb6i8Fq3S8Y2iDH2Ub2wwUeMLEdL+X1MklWlayS0FprWhVTmsRuOERKXCswAM5Hry1riHyASAn5UKcZP4AM58nuca8avMu7ijy9SXkGe3SmUhigr1OkRm15/H1di11E6w38YwyGQxmaZtWSELwkZjHP/cshjo/NvbnP1n00mwsFcYIyOMqNaqykszdSa7JlVhHmSSDwgk7Tq1vcwG1xUkxDHTQLFdaARlgNapMGwiwCQOgXtFFGDMXwSHDUIiQH2jaBcEe3AHcGWQyt95gVctnBsZTecvd0THC++/9FhZKf7po8vVbHO23kM2lPKREBr1dBIKv1QzmrlZriJUdQ0GYCK6uTvCg7EP5gX4u2SdUKG/MCYdiWf0GQqe9NmSm8RvccOlFKqZGCdiGVilFcT6F8QncoZNuYBobddfdwUS3r1SFH1rihxvxBGDuLfkmjzQX6mQLNgYMMXyt7BLkjFB4R7yB2rI07KdikBuv3clPaQQJhCGQHV5T5TCgwRHMRT70aXJZNXLpVF0r4WdiHzaEk/DLK5cLia8KrQFVHBsrm4HDzsN6ry3lQpbyslBwdrk8VftAYPi37fjdXNKVD7ZYFicb3NuyzoeI27te0Hbjxj6KNH3n+hlHXwZycG96DTf9XhFyuFP5/HJxJ9L7CyWIQvjx3k9QoxeIfTjn2kHxjPpWzab4rTEDOpXlzRLLyy8JdivmPzpMydnIOyTZlwevAuCaa6lggOIhW6BIytMZx1GFDZRYvd9N8yn7BMlwBpcLMOVS3+Pn3/Z7siOA7jnD0tWo7sqqp12p7oMaWmPM3OEVwY7QNTaR8/0vuhATNReKi2e0AgqVnCuLfzO5aA3ZK7Dopabe9ZeJ1RnZDsMhzo1ACLyQ3z8ddUPIptzkprrqDLHVN9Rj67R7w5+NyI9+8mNg3u5I6l2+Esd9D4SHvNFvs+pmUwgtuhMtDxKlT1rqN63T+XydwOT03GBQXIBDqCMg3t2jzGek9sQ/mcEGnZL/IflDlk1ETij7u9KBExorHdcePj5MC/CDTZrLYf4+1EiG6vFEIYVPLzhxXR2OAfejJBL2VcFdF+DMQ3SN6UBxpngY9nSxpLDTQYJCIyO8tbvVfKZQMuxYV+PjhgW41+RBAw45S/cDUjMVDUDXgiTAUGyUDw7tN56+8bXfobnDtNLhdeiA/WLF4X14O6v7rmxdDLqnruLq5jMfrhBozZOx+RecELvNOsSEZlcEmvF8CvfpM00yxEAJnVN4Wj/VIQaeQWXlKCJVoijD6udEmN9Di4lYM4acc2WY0Y6SRDhXlFGSKSxIMR1de12qIwiu+n7VE9NQHAinI/+xHNx9mmIO32xpgi4EYDkQ7VyTvqb85+oPTGBl90O/D2/RN3g/8nld850iC94twTcygPcYSYUE4XHTLHKnz2JCIA3sxiVbkg1dafDu5sL87ZZukEQ4HnRFK085u2rW8ElgPbtRqPewDxNqIRZh5EhlCPz/XqFvu4TzskiSMXyng3ynuYSxkZcOEShjsTIb4Bb0X84F0myNXAdjFnIXe+icf4+hY19eMXVbVJjoMjAc0CKdtYUnC+EYNY7f1dsXvL6p8qcaw4mtsZHXs8fV6MOT+zfXevJjN7qWfO6UZ/7R9MV9c+JPUBR2NfPQOCQNMGpUtmgrzqdt7OIjbwnDRwCWUDvNbmnEjgKZiTUil3LKqZNzu1Jjtn4CeyoQ4lzb1X9763Yx1SfqUrdNcuGtr1sX0Vnr97/8aE+218UUo6VlRZTsjmPK5LvGhRkkloG5vhG0g9xoWcB/jTuRyELfoeZRfuuQh1mxLmHCfrYEwpo9pN87Vf6SPPdn6fL9+3KAIl+I/quNarmM+3/sKJMJaqyOGcG/Z6if4wq8rWE0+LPRXlBI2fUnldqr3ydR2pqX7RVrdD3+USmO6DKpJLM5McIlT8EkVEDLGBdfHQsiiZDa6k6HmjEhvSRrbVKgz8VDfxHJSFDN9yAj7ESuFikgXD7ELEaGAQvSYmboTCK5pHdLMxLDgQcbPwmT1MajJ2pauRnyax4Rsee1tm4qeiWxW3a/spD+kWSyaZ2ROzxyBy/No9NR2VIjnogw87sFQWAHLRUad8N3NBFdG6fivhJEugqvHPJ2csdjquhCelEN+OtNzZq1D2dXnOahYXTN/xVfyQmwlRRrQtr8ITvVJFiS+vHt4UpRylBNOKS5HnB2cE97bFf6siqiImq7iehEU17bX23MQ7zagm329wMV9dALKVSP1i7i70PkHxP2h6AafBprYtaKUhzpxp+En21G3dckyjKvIWNNeHyXYjNqEsii1AjVbXcRkXuqBg4zwhWxRtPpL1mK/IhG8P4h5PMht2Vx+LFj7Vdh5+42ALpW6A+aOK+CkcWqYpkkz6ZR7aLCaDtCsrW5N85EZKE8Fy+8LFy8DuaUIzj690d7UvLZFP93Mu+HFsBdNpbSJEAiXyQIatWcw1S7pnwOU5pDjfvEMYHo9PdaHHHCFeTpYqTndppud5VVnzlZOf+kWfdjbNtKHTJJMwY6TuYH4Uwl/vNwAnJgv2sXus2JD3r0BhjddZHCIezcSi2az9mdfMGvtwZZncH6neuUEe+d7e34gV54qXbAD2OJ3yUS5inuaWH6gUoKXGuqxs0o+lGY+vOxa0JXUhV2lXtiKEsXqdOP/hgOLeGzVOTdtHSbTIl0MwaaRvorhvQrTvGAuvGSTmeJ0k515SFWAE6hMQbhq0lmVpkdheUFUozY8cAf1iz/s4WxnmNLVy86VFiYrtiq11105Mv227mxAVLhhCP4vTsAJhUIpkdt+5wjXOSgEUwfAUzpdjwsslrs0WpcmXbZOhkjCpcVCWrreAmNY24vV/3VrygG/W+1ccGSWR4FUAWYXOaCwLI5ZzEgVSfQzY9kQekbrVCKhlGPSbOqITIzASxIec9QCsRU7WjGuBKEnrbNUO8uMAqiXek8cw9evbpEFUHQFVeIautnKDzq3u/fTrMnlZ8M4Cdm2Ihf57GPotNiVErH0S0r6zd6JJDOpbS4Bcy7IefUv6O1itwGpR4NKWUQVLgGWsR3fDSKQgaP77FQukipejJTMHCg5xoZfLx5YuU7fq97v1DfRqpIHbcLGjYjOocFrJPolwcH1PbM4NDb9irBT5+DPapCayPzkEE7l+4q67xZ7H4KaQmql09G6KTOtO7OxMoib0eqE232MOROKydubd2yZaogLOgp/y1tQoh4hYMsiUaKP7Q1KFwPxxqCAYKUAEg54hsmfnoulmMQKKdVrCpdFXVELWfov+husyhIJP8eKeMsAsc1dGN4SKpMgi4ZWZe9FuwdkhiGy9u4BnErj/ZFeGXUAWIpKA0UsoPbSUWNc2dsMu0ln6YLjzkzeC92e+nyMcnetkizDBRJL4aLNiv2NyJDlsxK9P1j7Q+GL2N4F4DcQ0TaAPNAeSwzfTxzBaftxOaGLgpURB4y7v6ArgCaLZOvf7SydvDTvKKONzOZoZQtKOYGTfFE5XcHuZg/d6A4PL2r6c1dN2FwI0+OwjBHOSpv6A1zyyaihzbrHG89KKLnpXuReQlWhNIcG1y8GML/2aIULvNiLqABwmZnnmShUt/jK+/xCRFo+DyzAX67BO/GmLEI6qmX4J4RYwMIYaYcsPk2nxvD8CRMXefS6dMiQU6CTBAs/nge8tK1NeQt2LbfoY2rIEhS3dEVakuY4JDcz3k0CkrCUueU9AQ2BARXBmIfyJB8oPAYZcfT/mC9qkNArFChuQN4t3wV9+qzd4vzb0JElz/FFfvwbno48tTX4lbSfm1pbogYx03kHX4det6uNxW02UJHHqZvFxuVAQfn//EQTvSMaFqk3hHquiuzb5MuCyz9AUZcUlkkMeyIicaxEsKjZmBfVqnfl1UCwxNmpOOMisUzwda83iLYUjduvssrQXtfqtE6FPNSSbSGSfW0/gs0uZ7FLNNm2aXzqUJqPeKYkLrS4pfG+upHlePFIHh9iby9KyNXeQjzJODvj96okpvZVh/qj/8P1sZ6+zM2IJn/oERR/vcqWQvphmhWQD7M0o/e/D0hGe56lBx2cDtT69zXhbT6zo4skQNV+z6rwVOuHRml5hcTYmg9fqcFosuDLl/p3Dh6R0ortMqba5CKblsenHx0sMGmckA/+lLmTJl0VBKLZ92rLHYnKTQFWWUn4CwESSDXg6Eogdq3MMkcP1nFw11nStqZI62JWcLa4u5QBDmdRT9YSnLpNDmBqFgW4onKE0Id6+8gcI9UgBr40AEZB+DddYa6EFm8E72TCIc+PBVQqg5ugP/Zly7PTv6vCQXmHI/5floX0bw8gZ/ngxqOQfA1KwiPnqKmF6ieOFRW1QBc2wxcWcT27RWxRCGqsxG9QKdcOVWuh0VOv56LvHOiuJmVtKukLUx7bsQtNZuiYEVoHNPXKLqXqvOljCLAihhBZL5BZy8lniXcJhw0+BCFv2X4K8na128RA7iPqHHq4tSbnvE9QKtPwOeYT+5zAACW7m5HJqJYO1f/ty/tuyEDMJ5GGI/H4EveCvmP0q8/t+J/W9I3JZAbuElTX+O63gMXlr8feeu8ZETO9wx4WGroJ0agTSnkq5wy7vxG7RrPILa83bvU/Bg6Iexv615Vkayg7TDqsDMV+/f+sETCqaF6t6Foc/SgEJW9sFI7upMH5Wh7WqMXS81b5lqo5QQ5nukfpiDJ2HaPvobAZIOFnnJUedAnWDkJhCbeheIuww1xIgTDSKepYR0u/sU8dOAkN7kN1Sc//T8ZbQokHIfbRrQCybg4kc77IVbSn+k39PX1bDE3KWuaAvxKEdkV21GtWxqLBnK9VqHPBfRvkMTKjqjhBuZnbgx++fhQHTUkDoEMZOZwLk0Miue02SP58gPcKwmeNey8nx+uHnoFiceBzr+dooakSdoT+trlVoRBUk3PmE5stjtduikPjCIrAgHTVo52gej43BKm1iok9vxNENUkoBFBAMfOP0z8hAcPaa99S1Gcb0djF/0krGgN4N2yWqQ6CqD7GZK+HGmxdT9fZOaMN8BrxdwAQrJfD4EF0Bpz/fHQoE2AETUV+bZFNNBVCbWLdJ5DEzDZCCWMLBcudGSgGV3U3kzZ9W6O8AMihjze1O8HssQgsHxaFrU/A+YtjbB8Sglgg7CpltfkiaMVFp+tx3G85jc+1aPn0O0iQ0sFpCqyYGYieh+gPNfZ5IA8uWsDC22l4qpdf77L3GnSy1JCoFrCiawDDH4zfIX3gYGJb4acm2+uaZDytKBpTJfJzy9w3mtCjBMTGL4IWG3vRxpa6r2FHjP6rDludwBhkObblA/W/tUrn3KeaG3pUeiUX8lZoWDfSKjMbyD53t5w7o2oOUdTiLJ/wixBZR+O7us0k1JwvstO1xACcwIW045KCnkCb3NJW6y+37WLzoTBBTszwUj+8pQQBH5r0ppkIOK5hBqdCpZvka3eeCDspMxO29319GqvcxNMIHmAyznFAnLN5BA7MF0puJ2nGb8TfvjcYjb8YKCcaJitjzXR0L8wOuGMKMKNZ5oc3+hcKXFEBFcxtiFhtM/9u3S5BlFcuEPXumgHGxbogKu4a/ELfrq/5ju7y0KBR5l0oGTK7r+0xGd7AlUcQMfHQQgDTrHrKV1x8IqEgCF2FhdQVcKXFmbg6+JgIeTZIiZoOCJvTx6MyiwrKjpZjdzViIb06Ziial5spUP8n8i2vlZN2VZIPGtDwAEypF1yyMNYxFZTtFbrpFHJfTRsuynLMXpyAdb8ktGMSOX57dwohn8Pn15x43QxK6O7mbqF6e4epNPjDFS2/vamANDGdsASmu5j+l3fbfrT9d/5lonnlqy2Kp/32HtmMva9B400g1t2jp/xRjfzDxqd8QTvedCV5JORNpzapgRKSNos9ljsNztDxNIdNKJFdoWSrG8cJ9fPPOZ9IBIsharUcyJ1Dp2fmMvVM/NgBoLazvKnyzSvtBCvXIkJMe/0GZ38TwjlaOo+hDh4FW2mDekHtA5zlnhtVwLwJRMs1LXxSxJscqFCNMfx0ilCJ9ir+hCO/TrLRzcVmD7Y2viGAkUJ8+MLuIRjp37HM1PYTQblPDNVrMyvKQdE0AwN/y5GtXkCOsVXl0PjgEjxwv1HLw4c6Jd+z+iH3OPao4dcJVojhR4fceiZzw2BhyeDX+Av5i/fY2zdnxAfgFp4gQTXrXvI9yi04OvQoMZX7s2Vf+mouoO4TiRMIqxSgfZ9vxyoiGgBInGW6jQM7MSDO49sCAL6qvz9tU2lgpAS1d0kvWdcDwNUCd6VlqUV1qwN1pnj/6OiPvRdfT3458/XkkSaFAHEMQG/SfIskSNUc0bZ5NKOAb0nKgldq8RJVQ401A+bsWZmlqxfV0mo5pKEpzOflLmI9DM10Uhp9AGL3zz06NMaZeSQaucqLw3/kBXTVbDGyVgowDG5qXOalN6h4hK/JBfoa+d6HtqV17lg34oanAf4w2o8bOzHjUXr/ILjDsQYSrLFbOk2w79WydKNQxWxrxYH7Y/Gewo8N01gGwoNPP+we2JoFpfuATVamvM8o20AciRCbE1o0aAU8FOgYYuT82pGtqCjGCTfc5AHQVOXdShEi8MOPZeRR7oHhNIJCpzIR9sG199dZLyDYtXTZuXCn+cZjAC/wnK2bt8nnkZRcChL9GGP+EDO88M1b2KG3E/ve3aAFe9xjKVJ7GLjswmN4rsI9N2lunBwbRQJTBDv6W0GfhyqyXhlvx6nPi6ewKB6D/VLTmP3CBLrhBPv/Z1kLLXV1jFzGpGtyVXvnyc4Ij/D38xQALy/RaWCQuEsaG4OVmkVTpqX7xxGLv9e3nshSTt9UkPdfb2IxbAQmrcy/FXiDINk5WLn7TD3PZJEHoJLxkJuTYP7l+Shcs+Pkazbk7y3M/MSlkaI5RVM7ZOztOc3JGfptNoWl5UtgB4PCj3dfvC1Eo96eIECzGjJrIwt1xQYDUaC4ZSGJsk5fBYUiq8uhsbRDwDJ4fRqhxv6Y85DbtMuu5RLkWbvnzkHU06rlkQngPOxu3/rlWYv2lciHKWP1ZbUOrTvhwpFFBdoRwNPUWeU2DFUJjAalZVjpYwRkHm2GB3g/JqmlszIJx6g8NGvfTDECAQcf35M9VlvDkBMV7ynGzcGI8eu4ph7r1ciqsz5c/JVtTp9N54b/ttVsRYQk+3RhmJKdiDwZoqmHIYjXEfeYAogFrz3cKrLYZaAADcfhR0pZ2iDv3223RD9SUDjTta50v8jpXdGMGlt/+aalCeULd7mzh0d0wLS6lAXKwSLF7UubR9qevYJjrhRpd9MBvTwD37dgVD7nYuB7ItMdZugyBZccHipqftGLMyz5iJlOaC3VOSGgku+JOft+kvfBbmDAdJoyiXZ/LFDJP4a/K7LFTs48iKuewSTSpuzur6CRUm0e9uBEWmVU98LMUtnbfIQIidvkivOPRLIqOR9cfj+iHCe14/k5F6D5ovHw9Pf5hsP6Ssc65tMFACyYfSz8s/ylzS89NLHZ3k/jO9j0TnbXd/0QTD8sDjv9fisn3KQj7N0FwHOGY408cnujH7BwYI3WsBr9g44Cj7hOge2ej9WEi+sOrTJYCNdpxQqQTGJr2fJQN5L0Az/g4QNTC1gr3QwOQ6PWmHqr2cC9mtiImVkqwuV5qXhRBEnwmRG811HsDSocr7F26Slb0ylpxLB92qb1oAKH8O8uEnkwVAbNAfXE2o5nSHpPdLBSRAQFasdbsfRJQcISECmk3AMXRDvu0MwTkqftgORBKwkFX7rv0TTjOMRpqAzHNFybvNkeji8U8rrcXDX10bDnYIrsxJ8wB5ShYY7+opZASSPFaSqgURg2uhpwBa3RN6+GpxC91rcJW5Zmk8H7C6gmSKVeJZO+qRKsZGsV8aqQDGh+hs6+ETuph60lq0JAqjVYlXCgmKoqDrSPR04xyPE7gyAt2XplocpzAClFcqckhlKxAoLbT39HgZXG01kBpvjx67LppKMoBU8HXMHlWiUK9QR3i/AzlzAWYvqfzQbW9JVjPE9teJCGq6Ke48Jqwve12r6Cy16I3RZdE2nEQuvVo8i7dtxSDoqL0AYXWinD57c9LusVylnPGTlaT+yuIf4fZnhjP3EnvptajXbj8HJSiVzDbpSj4c6vNT6Jb2kmD58ugza1ewSPobnyrCI13qRuS+u03776wdi5wwYltwXB6DFpEXHm1mCub2H7EklN2IONJsIcPVJ27QGyK0ifuiKOJQUZrNpEbd+g6wLaU6KnRqR/OYEdkiwnncl6aKBcOJxQMNcqzGmH2nzgFGE9su9a8lZpkJD+tMdKRVGCrxLJHLSrrsKdbt5jchGT+9ek3HzRRpF+dIOyvegsjB9wIn9+ha5YVUQt6y2iYFVbfj0J5ue03RWpAuVapdY6ZC2Mzp5ta1MR13PSPr1mT3tfs7d24K7HB3X0ztnfGFvgLxrPLlbcrQiUNOfXItmWyPdEafaX8jmfyBVKf7ilVDA4HrYONbVfG1CS+iuj4/CK0uomtRur+0ACq865/NVEBSFLw9P7d2bbckNQaE9H/OQyH6hThfH9MdtA5/8910cWu5EJQS+X4GTe2vSfBUwSxjDXLCcw/La5fO2nddQsoBIFp3nVWo23hfk9rarqXEdZDqUEXy1YHKNrsEjm5dnc9Z2Y046jrgvcpvaxCfE96J+BScjM7ig7ENLDuGeFLya8RERlC006+hYNk2h/e8M6ZmAE2OX5Iyb8nj7wxpjk4QroPCIEHITKyCnFs5saIcS/ufT2XLmtxLERyJczjS+mpdqp0h3Z1B5G32IJtaad+HpCDhjJkOrHqfn4MmtuBVlfQ9pSjsl096IzPYvga5LUsfWbbyoU9YvNJu+Ggdr4AZhrzojVThAoedXJ6qRYRiZ2kmE0CjfIx955EwBt6fciBA1RlxFY0uBCv0C3CArX9j3i2gt2LeqiMfirBICpHovaD2zuffO3jPt1opvwgrduk2DlIV5tIti9JDYezLFaJ2RCRvqzsGETbIHQUkABwJBsax6sPBWsbStifWai62ASbfYBXZPEXNmxl8mbhC16/hy/AsNmhdhksmyfn8r7EYYrmgpYskBuxf6FIKvJrLxpLumSCuB1NnfeYr29zt/Lx6eDbD/fFAihfpG3/JqDHQnmR7KxZi5s5bmn3lMI7tZz51lQlM0EeRxgkejBQlKMly6KuxEiSO8XTOIleVnfFD7VfxR4pqyu1wVoBWXdoyih39eNp6xcCKH0I5e8y6/SvuAneBNEItn0BJP7oHRgj7srG6meK0DkvjxePsCFmZeiZHTqi/rCziU40F442zDOjyoWu5GBrUIn3prouL8w1QMjnSjnjiBPTaOqS0NMzOjTZymQKS6jPW47JMh9P3f3J8DWs3k4Ii69CArE6/xZNA45tEH1TDXlmbeGcVwbnBtzuifo3zuMST2GBpOHgP0SuXFeyvYOi0wG+u4htLjDQrzhNvJY1yjlJSgWlsWSWt7pRWq9fYgan7N4vQ/0QvmUp4TFO1J5HbNakrTUNlJGt3LwBQEi6Nmuh0Jevnpvj1QlKTP60Daj38R0mOb+ykTJBSDBOmt7eR0mf1nYd07ssYa0ETa7H0X8qtpLY1dispWQrX/vYGR5DTW4BB7XVLU9Q5q89X9z0xFIF2KKjHUHwxtEcPjhu6Ilj8Hbci4UjShugCh/mY8rgy/uARC6ndaCsmm5eNqJ10sWI3Dvj5UtLpAbwxCl2E/V81pZO9/49yJl/2VPVbx1s4proshjyWhHkz9Jnp46Yke5pqAXUuCiJUuYLQ3M6Hm3SrRF9GOtHZEz+C04tk+F9q6fp+V6RZK6rbpKso9wTtiW260+1bu48ajRonDXRYhNvg4hE0UZG+eWUUkqXDxFigyXcamML+gdhJlDPgEu4z+u9b30LiqjMSe+FLdpbHr8ON8yp+YAJc+dsZg+GSpEUABy3q1icRpNOFyGBTliEH+5GqHTZV6aAQLDD/hqwYvW8FTkJEz4zzAc5LyPh6zIlAcuBDBloIRGkEek/mxBcvaSNI1D/KCywNbpugb5tKGHcvmrDmEXI1RBS5GUBebnrEos08MGsHczTnC75uvjZBZ7jhZ6bjj2usq3Wwq4AhqLwTod4TcAai7D3jpGr81YgbZZQjBKjmV6+BWFbEyRPpQ9bDJ5pUvRZTDi3zKfZJlrm5Xi2h7R42Gv6Dep7Ys0fHRvhaR2VkX6qBg4i2PLm7erKsW4sDIrzAtKT2dq7M/xp7jbKRKIJQUIeIRDdFG6afNH2wVNtxasuVu+6Gvt9ZnMtDEfDpMNUhfPF6/ZNI4iHLjH90sQGBUdr8iXYO+bvvWq7udvgtIOnlZsYPdvRcCIiJU48njuFr5QWwcfQDllOZpvMF8MaihWtNrDQHAkP2XgfIGObxAkOpISyfu9k//7F0xujs6pHFV5CKZyGeiTDh0VXwe+eT4gp/9RxwSixmB+KEOcYIIN5jEA2HQToLKt8nhsWmKBMPygFpaE/i9YLQ90JVMtzEerOeTECU3zDTBk6a/2qCxdz5SSay4sTixsovDChRx4NuqDrBX985A+sMkb84MlitF3aLCMuiWf8tySvz5m/oyPlvbwfGQ2R9e/mF/2N0mi/w0y76wON69VQ3gcSdyrlhY6mq4DzHPeZUOYag5TBkz39nMWy1at6H4+91kBj99kRv2PRiMsaZlBXrqs4b73K8sP4skNdL0wo105SmyiRiVgCInSgRwBkYh+2sH6g3ztfvk5xLBPLekDqzURoPwEkA9mwguEz6YqAAztV/M7nAdHxfAHxxWAbY9Qlp/Pihm1TQR2VrTMiY/GqPiDINoGx+ys3XwuOdtP+zUg4b8siYdTV8Jr/xIW1S9uNRfMn5Vy5+DQigkWZPvcpHz5jU3qKKEo2fKnpbOtZ5HwR4RPAabfAQos5yWl33C/h95Oa/MSR++17ldCYvGHx44PsD2kPhfEgc6C7mTovszyoAg6483F7o0kw8FIsn9fLhw7GHvDzfmSC4ZnK1LKMUJ4VTyqsHhT3L5ElC33ujvBnaoaqW++E+piIrVb9T6hdlsJm7ZA6bKxseQJAuJNbVa1N5BxcRwrAT3qM8J6tu4Sm4hm3R/G16Fjv1yYTwAWyA/p13sv/xb8hsfKxs1dBsaKAZQd33AMKS/tHrYQRbM0IcIJb1GxXksOj7tJiCfYoicdftrW6gstL6h6Qx/tWA4wq5G6huVJltIM0o0eMae7kpQvFit5KrqghSQBXJQUKc40GT4HnLr/51/9JJVXpjwJ+6eQIkLnuPgrVcjENBWkoOWc2Gf32dDhixiWDu3qmrG1aOfkKy8zFMIr8Ll6PIW16kIuBZ8Fx+gx8FeyfVzX5zkgI1aBbKwDbm3LwFhkqgs4P1TXf/C5lPRGA4loUSemobRU7Yw2b4eS8cmf/Ou7iYNYBn3R4GMb7SI5OyYNox7Y9c80r5lGUjuDazdqGrRV0NQeMofVLb+5o1m5oxUceT/cqcQL19zz1V/av6utnJNIHxUSH+omu2kmXP6fJJX1Y0XSi7t7+/V3/EYtTi7N6MWO33xAgOAWQpMyML8uZ8pjGDvQT4GRBzRi/B0PKVHt21RifwUx3YpHBli/55KGwGpCrql/KrPy/IBcfAnw2TcL9Nhy81zdaMs/b4qGxhTnLoTSazfe5ZicJjpodocM7kGH7fbycQnfyZTQnI4v3H/LqbZoJhvc+r9c6VnByxcXR9QTBwUd+axLhrH2ydMIcTVrBrX01LHHEOiNTSq5uhJY8y85LZoXqOutNR2WT9hBUZ2VuZAnasETQ38TebgoEyRi3Myc3OwTGNqnPCfcdEVcdXOEF7SY/6ZssHTYNtqoUsXiBqVk5Ttuo6CxLjjxuFlXCrzPuNLIG/+/wHwCP5nXYSP8casYgw6me7opHH8HiqnTH1M7YC3ccLpHVvw0JOB4zAS79rJvaJisysJAuroq6mLO6CwmIUxQHMYsmvPmwT6Hi3VtiuTYSN1X+h0xs2LKDpyCooKmg5d7hxd9zYgyRe7AJpZH1Q/IwURnHB5DL+7rPUpZcr9iE45C19v6WH7YpTxoYfg/WBZRBMMg+oKXS4azAzHzxOvIQDIoQ7EtH6qvXCuePzRnMVaovDovcS904o3ewhGGZb5YT8PIGcBZHfav1rs/mpkRDKFdUtzKe2ggJnYdEQv4P/fTdOvEIg2k78EnVnDgpC0sdAyq/IN8nkqKAyGCbARBv97a+Hnegz/U2Oh2OFsleZSX6Br8KCmndXXm2tbfLhJvrazlkZMpN5l+720KtuBTAqSqGUd+h44JWHxBXgXm8jsjIPf8O3hKNh43UyrqwjwHXEiC6U0S8Q7nSVdaZqrtBeWTvDrGQgsFzWlR+36jKfWWhafWya9B7jPfVmQz/G7zILs8GguR23QdfXsoqSWQzBM8ZNCZfeCnl4YwngrwQfq1u3QLuVoDO2FLDK9P4YAp5bpPpzRaKCN45d2icz1fUTinWpvshwkjrQJtuHQlonLyQSXR4ajoT3kSFlLR9oSXLX6c67Z9kXiZLnp7+iFDvRzQkVoKhq20iguwUFt1C7T/vfFFNnO3AKH7IKeCq4htrR05QoR5JXAuuW021J/jJ03LbVnJ44Et97ry48Dyh77FjcRL4JWgYH601gEWCclu9VcIt4VSmhlQwQlJ9Vaa+WQPjsANSorzr2AYbPQbFNpulyqTonedWBrS1gRKKdpdqGnVnKwZ/D9mP2EtaSlurFUmk7iTP7LS/KZsTIo53gAwdSQEHTqIhh3kL03Kkx/Y5bGDiFHjIzXWFLutdDqZpQWAXD2pOE/Z/eSVNGpRV/efdUITYUi7orSy0Cycf0feU3r5XFkU7TVNhlgZResjUA++AXM0hlRvQfVQgDOCR4Yzak81vwHBbXp/Eynuve/0zcCqOK6moXUnzF1O2lQPW3LLORV0vP8dC1nE2+V8i5X905YeQdLDgHoQqf9+hKxlvQ1WQVJo26fnNA+RJF5rGL5gPosaIMq1OehIdgEvVtu/5CM3aByAa4vat9ChY7C388H+oF0+tKElySnoQyoPUsVy9Cvk+iBq17711DR9lm1TfHARY2PMgtPVbddk4ahDOohAfTZsTDL/liiZldnfSoRzohsD22Q9AmyNN0g31HLqA4nKya7APlc0OWLUtLGNmnZErdONgMYxjcGCzg/3blMyv99QB4PBUiRbX3Y9fY/DQ8AcDW00e/q/wXmXLj6IFV1doNRF84eyssJUS0ARNMw/0eU5lx3pw81bx4gAKwrTnWa2n53DhRGFs5IxFi6OtxVV3fZWe1ykWnFG9y1gt7rDL2pwlBZstSgGLKh+lplKOjMjUQWppJhC3cIER5cehvpB+ma2dAvhOgxOkvf3xMxyH0LzBT3ARglcp186MBaWs2mX6IbvX213+rCFhgTwYbacah7tp5YvF6l23l/zpXLfsEDgvFWXQaFkv4ubjJ0Vmq6utRbzBwx4XSd7pREk7iPWcsbcfYH2y1/INWfvuDnnsLJj4J/QaBWu92oK0Vls3OJtk8/OCrzpuvagSlHYBYJjGq6glCrnEzfkf8QxIA14H2tn8SVzphgweD/89EDNzXDzXgZAatwFQ6By18DGkACppSznZmn1dzz8UEaSkd143XxwosT2yqvgMEtEe/9Io7d81+8ARexNq+w4uN5YD3HEhzrsQhzPSUjgV57+Ph5UKr1c/nocUmWMXOzP4m3TVrSv6EwOUnRme6xxwI2ScNWirgsuV9FnHvZQTGNLtDyYbNCdJbyNlzsE648PbQH8lNIkEwcNV+/JPkp9saOOUzii+3hxzT7wfAZLhy/URbYPFNwD/hqcXIRgomE9ppYB5ytN9ywXXiZCBzJxdu1kwHP3dGKsYFTEb1M9fHIdocfqMOq4GLw5ryu5Caw13ai9F213khBPcyrZsoqW1jNEFNn23Il4fqqeRLjhLgLizrUwl46J8YwVGypRsB3SX0VKgWMiiEfY/vylwtqoSilIwArJZz/8gCvtLEaSDJVzfVGIEOmetmrANoLMNkZ0Jt+4Pt+PC2KRPZk7aboEuTsliXk3t39HB0Dc1gk1Hwu8EbVwjfVA2Qfp8zbg0sQpPn/2LBpYcGTs6awB75c/iw5cp2zLFQYLl8Kwc3bwS9OQNV46HE+JsliFUBL3zIZUFrrfhTeyOBfTZKynZydKKtWIAW/WzlztQyOeMRxXw9jaYZvNFIrtEr4CSat2GK03irk8EUcDqJbTpWCjMe/ebMEjFXJ7agLY5adq8UhYdxvdyjFRih16WgSWLzqVTD9PfuZJMURI/R15MyFdJAUemgf8KKuwwPfAw7bwnaRr2hKf9Y3+KHyN4hnMLCjBghq85owN1srJRzx87XwMO+xrFnI98BzXC89YEg8uS3loML2hKft2CJuJ2BkVYgaAQ2jCLHDcFwPS7zDLuL0ri2/+2oA5wWju1uYQ0RdaO+RcAARMxDnrOTVcgpAZI7Xa+MSMPJoXOlNkGRD/BfnBJJSay1WKC/fTZTkJItwnFsZ8adoYRKmcX8fT0Y9L1R2vhEwswBOXQSnp3ZdgIislsA0ExGLb/bSz+88voKT/r5pOK9UktRFW3C9nBYxoa3MJwTY5wGhfUj6ccQU0wceX18J/gTc2kKg0ijKnXwtsW/rrLHPlrdTjHYetOAD7Lhp6LgKW7RIaEqiE+43rjJXmZzu5B9Jc0TIbT8jAlDJB6/1rNqr9BwftQyme8AXXiuGpS87FnPDNplaz2hPg/etnOPqT0ScuvfLQQv11KzY09qpSIP+YdeyP/Rzw/Iv5X9Q56pZ7lk/suuzY4YeMQSo1jx6A6SB6Cy5b8AAIAQXM6apguLE/xPno0CAOCmQPOW6Y8JJYcJPtiiICPIEMH/0HaaBoIPI9kO2gBEz0SuevZduTqE0PIlGYQYkrC2WA1377QSsSHtgTw+uDTfZQeI+bDKbOLON9UjYH+192hZ8aT61v9QCTf2yjbvuqZQq4J6VSH21XQwzTLpST8BvNxiy2UphP3b4hnwGtyo026tWMd6Wxs/RLXZxv33oXCQZ+vgWlOKnF/ew8jPiRY/1GNV6ETQd/Csajew6eU5ZRjARRkU6UQ5P1xlhanwjOKJZ3/RVV2dtSeo+hKBXOs/wEuY5GYGMHNRlmufWZE8BpY7cTi12tmj6EDcdQuWpliXxHMkzYp/Z1LQGzKCCgm67l+CO7je1Davs0HQygMqQT/KecvBcLp+JZP+hcp4/8ByNaSSP3J3QXZiMPiNyuiV16sTehrVYnLqw/Ou8rXYvovz/mwBQNfSWYUMDZ9S7+uNVxx+03JhrBp1Oc3/p+UPSxgsY3657EYklZ4SfSVNqT/Gn/qfLknNz8WzFd3U6t+bztUaPOGLmtYQRMoV44JD6DDTjrywYD42Hn1QxcPeiwJPNDbr8fg9p6OTZCu3PwkVxyaLDtix3prc1jLG8ElCWaBZxsqq4tdNUfEj+hiavZS2lFdsuPxb3fSUngsZlIRf6vTIYgIbVLvuF0Mj1qri9mT3FtbiCny6ebFhvn2EDQlxCkYVI+DfPDHaae8yfyJKFaDXYqsludw/aTK8QuCc3p4c1zPI7A3OqfMpA571n3atn4t7gZ1Eg9DI6T75lNO9IRhzdZBRFRNXWY+o4hkIUGtvox8TYNvpFgoxvErmzBtjUi10aIl5qfGMWRYQhgCSiYsH2XRkwNHZYDQ7HiDGlsWZ+ew0U+CYEEvwjxoN85Buc8Y6qsCJdwT1PjUH7ASa6LdGFlhxbfE2El9jDKSWCoqwzhJK8xfLRiJ4Po3vdlpnFaKSswzO1POtNlPpQMuUb69q0LZH1l8JJ8lT9oEDauEZ6dkH6DyezguzcBrpEbBDHWw7LbPlV+EBWx/wYjZhvXQbgS2/GxfRbxvprXikIgMReXuU20hIcmLwZTKo2sknyR2xskqBJqzh85VX/SLz+A0JuTWjjcG3KaVg0Myt8bpR3Wj1jN2909YaIZ9lfjr7QD0Fl9EsIgpYq0l13gWDDP0NftWAebIQYlflhVdImSFo/c8ITHhhXnMzD8poeQ1jS5Nq7Bh0gh12cCCnIz6OOgK/z0YliBaAixfRqWi5/u55/Wt3Eo3OmJGUR68iUS72/1rmYt+HhqoeSveQucutrbGadQSbEZrVaICvDtIuzz9niXtgIzfHYH3bkG7UCHa6qp1pJsxdF1Gtp+621pwm513hSQwYP8HcIQPAKJRjktC9mNoCzb10ltOl3zrjuEzPAITadRoRWwD11k/AbuBbBgkySqFbUFW3Vod69B0dpJSr8/s9YKBiuAS6OyU0QZefQf1EuREasoItw6j6l7m9+/OmUL6Fg4dU8e8xfW9TR4azZqmy91wZIakWcAf6yqt/r2QevroGyjQppem1LZL56QN+53j9nEQNSnfGa28nBKJO7al6UQutpA5lmyHHukpJjCdlCCCHuHerxY30BYgabGqtV1GnJCyTQgjxFECErwu3ACfqvTDqM2XB1SmRjlO78OVb5EqctuW9a+JhpQ5+cAcSn1YdHt3m8s5ocoBMqoj3xDy0Ewxpbft1lfJpaAvYAzHe9xoSLiT0j5iafV4pUuH6XerMMqk+Psg2IaUsa9+TBKmtt2MZswAICfd+pX9cxRGz6rBnv4c8AyvNM6+2uS1SWYfNM2uPG4qbSxw0fecZSG77jYPgMwLzBu0mBHPs7MkmZL9cOs+8y4Og1utwRgZoqK6EK8O/NJxTwFIicVeAN6TXkLEhzfsFuoMDhfmudvQv8wVfJK0QJQfsTDupbir8QR6VT47crha2oPKh45kPG0696koEkc2Q074ee6a+9xPWmQLdMOQylUJjVSnw35DARJze4wn1Zaq2JgU6vWpWYj/hwjN4MDk4P15OwIgQIbJf1LsarmrE4JaCGCyUXscRWa7Sb+TnNXuEDAdVFVnfyhKlCY33a8RejirRqzgxjIRxPKoQhC+R64kVkllmTc+9tbqQ4TBeN+/8fejHBcO6eQQKwsGZsf+f8RsEz2EOKsZnrmyBIIQNF7kvxPamHwcQfkhzoaaIHFbVQ5qcvUlx89q7BoEuW0MqYEGrpmacuQWpQ0DxXq/df4ASyFV26nfSd9NIkUtdqBRPId9KlcSA7aBtOYlo7G+laMMyQ/TICPybOjeFtPL6SIeTflL7CO84wlB5eDDx0KiI99njcsUEmR4j41SHl+27HixNZ1tScANG4tiafuQYGcgo+3Zt3NSu6CMph8O7tcbzRM39RmZrKdrzUHgqgIkV/7fT+T9slNnkFJKpSjNJv3VosK6WuVRnv0z+Y5TOMlLsGlyb4gqJlV0d7epXSHG9UhhFPM3UCUgC9M/NueelYlmYBdN2yy53X2Og32hkQLGygbd6nwIS7bmcTFMpj4d4dQB0UhhWhymCpOm5Mi8tenZVX3DVITEFNm2NLDn9sHVRypoczUplpCjyk3UHnE1Tdzu1sLB34PEdr+a88YbOwYi3tseyEJv9GJqgECfXlpq4CMOu2ac94GWIJkJDfdZBAU/jBsZiWCh7ScVx9a7MvalGmC2UYzFi1nusLUkl4xELvBfbeqNJ7JTE9YSDKrP6yLyg8DNsbXM1Qp++sz+HoZ/+n1/W3OVH6TkcDUndm00UxXWCuoqsPYQBV7Lw9lXF6WVBgj+b14sJ67h82KIrOCcYHKLyRssKuuv0KP25LcompY76FaKbhTKgcBYXGqfPofprPPf2h3HioOhJhmmuz7eKMzOxA9qv+7pqmK4UI1KTkcpi/PzGR04u4KyTVZzYUjOyyktbDXojx89p2TtJBzxsqcf9niqtn6aGETbcn6MEOoC7CMt8Ig2xyB3/ZTAjjmG3M/7Q1ei50EaXkkpoGk16NhiQYTh/0psksT4FKZpUwZnZuYFnwmqznXM51WaQGipdv65PIcw8ntbRpvw0GC6I5Apzi3aU02VxiCDowxSCyEqVfWO31/QdZwCyWONFH6S1nCk+qaEznJgmxvvwGJIOSavR1jXH9SOd/sX3atTHSbjZzF6QlP/dIF4grTxufGEdiGdhF0lYUZSqXfhuG0c/5fPWbVyvP2ulG+7CLENhrOwNNgLoCXg0CAFkAMJzBMD3vMHsDtRwxnnSeS/OriunmwrR6fZeUFmjCF4cvVV51m0JjVzUybUkvnyjbjEn3pRY/2FO7c2huujREXdlnImUurjByZWOPiVW0caquubUuhNc5rNSZwNvAb7Nw4ceV6NAXraBh6pDFTEFSCNKksl4DUTcEYGhpiWtw50qJft75rK4B16ULFHlSHeztmcH5IPvrGRg3O4m5JAc88bUEbDr1ZnpLf5ArzlXkWAwZ2Gald+qX6FkrjOPnY/AwAkD1DaKs6M7qpSgOEEY0DwIyN9YirQwX6QWOeNiMBXYFenMjmjrhKb0XTzC8/0BVjijiV/XMpJrHvAM5mA0KDKwWSD6o3sK4jA2ZiIRFaJvlWT0HKFjB/ujaIMn7UguAqTzN8BIxqrq8GRo6AcGiTnXm4Xy9p0IW7uLSFDwyOgw/4lAz7dOqQ+gXVhhdLMVwC+O6MKIyrZX8yJKx/U5m6CvJOFKfhJAo0S7rwM/4OwiBxr20ht4/QmzeROAOrKB5GB5NZB9+kjzUUJKXgtvSi8CLgZmcR9WuCu2QErRSCJrKMFkf3q7lm0d0/u68tsh4zeVf53emqJa4Khr6iH1iNlZ53fzognGSQ+l+INSVfKrbpFGS3QIqkKH+sNsBWxiOA3ED3k0xOclyslMX9fOeknNn8BVntqUe1ANUtNWbpk/EpAN1w1o/zH5dJw4Xl6hXo03gx51x7spWQQYr9WQGFznBIES8BVxsQiaCgAgb46YcbLBOqufxxcRMFaKmZCbDf3A8YSMy+1S1OqfnKUdjhK84uRL7ajmcYq4+f7uhI/aDlbtmBye1ElI/IE1kNiCL7sTcYydvTlFwIzDNdqp8S1gkN3JFEWVxDAYjP97lWt/weCP3vZuiRrZgBd69Ue8QQXNAOXSrH7HNNbuC/ARQkM+hPOlPDhpF5Q0XsHGglCGm4aymkU5BpZMUP+DPcA94F2/rsLWloNAPNnwrUhFp6o5MVFwMiwbxKXbaJUQDP1xgubh9Eg/vcI/EZIXOhu/RV3sCII+6WtJ7dPXBRjMbkVDnZlPV/gDxEpeQbi3Pe4yhgeqq5a+YqDK0SASsURFpu4MkiOIl0OL1+c0CDNLrXrvlhRJlMtGfjK8rxU0Pe/ePkOzquzRgXRCrvC5kabyRu/TLSMeHDOC5WKACZ/F/FuXMczF+xgszag9QTUKs+f9FDf44hE5ozaBQWx4mfGztQU3NZnTYK1COSp8qYRe2Bpea+n65S9uJfVCGkmpK6b02YMGcTG2e37g4ay18uZsyqEpNw/5a2fSY3RRSeBKz0i+AmP8EYnSoveReuLxt/QXuvoYWrpBqjCz8QCLGZVWVXmLC4JJ+pyW97OBgSl7C0cIOc/x4todrSE1V88XZPTapKOITPxiyf0/xDnZ0vtW9mJjH2zKQbrXrBgjZh2r0p6gKjcSkr1EfSBJaz0Tm0qg4XuqX0QbRGf5yJIgRGWqWpZB97/+RtDYrP5ZWPdgcUIbRodHwrr0m4gW0KPnbGsrxfqtCzcYSGCZhGILzeXFvulsvCJXuXbMnM2+E7WcpHPrQuPyV327oPqLmOiLIljfVn1xUIZtWo2+dC1OvN6xFPkH++d8/GlLyDzWq0fKketqqY9goQHtLVAIjKXc1Phswpi8frkmICPKijrD2QZR9zpWV7ptNx0XI3PHlle7Qdl91PW10oZfT1rtqUaN56Kagh3a++XaugaSqi+EXVuZ63Q0VIP5N+PhKF8PFwTMktgY5FcQEWN92t8AjypGGyQ7XGYbgYdQ0Ttf/Yk9bo8rImcPTIEzaUJHFLuFiXbT2o9NDJDUNHIspg2KZsRoSQSch7cQOmmsmfVIQCu9N60iL/8M197Bs4YlDChGhxe7Pa4Uenv1Qg+Ej7sNObc2OJRqObxNsSMzOnTm9PmnAT38R4k1cHVGhwrI+ayOVuDSgKqSlFGV/snDf/v2n5tjBjkHrdYzhbEWWbT9imJzCoqGho6ew3FJe/KewZi8tkGbr7DwlZbiCqo6YzzvPWVHwJv//xQqmKrYlPGbC0wOfWeFHgJBjQhTkZh2XC1UowG+Ej08dkTieOKjKTIfLR2UERZGpHe6lLI4d4nGwVeK5o+rMUW/3wy9zhO5ZjHO/xRVfCdm0mW5YZXnU+PDICZmNpW08IfotqgNpHn239meXOny6YBTkUzr64FYF/yy6ifZFGRQN7kmob64TWjBhMeXI5DwB8Cu5YLkQLumnfWsYgrySlmSZnGrPEaV0hZ6RsuOgOlx1tiHOBa1Q51ssP2ZvT2RqCFBJGftDIr5A+ojMuj8DBAyLR3I43U5H4dLCo6VwLB7N+Nx1dHdXu1vTw/rP4kJZ+3xVt2fmGovdpyV1yO2d7pntzfNSr4j8nBDPb2eZ+9APW7DhAZyMOxjIblhJqv7x6dTpVfKXpIPTqdxOjQB+hw90EpwGQCUxawkUrQapg2Gzql3pbFsGzeznJTzG2auHZTrt5iOvHrxOCrm5mHm8LJS2IxU9162VhZCv8eNTYRahKiO+QWbBlkmUsTW0GsT84o1uGd+Sr6nJR/j40JHKfM/kz2iL1vIg9KqHQGwhQsxzOyNBcvUnXyhJ6g7BlFnPTDMmDOQi4UHHZKoooHdHzOFxZtzxRWYj9buyzegFyx9UYmU77z4Z0mUJSQxQNq69Jych75SwVKNLRErOmvBgoU+oENwMGftmmpL5TCCtmkQD8Nqv61e4kbV3I5PUOF6g6U0L4mMM6Y31zT62ucN51IgAS3/p6mpYipvzukRO2wriDLCp2inl0JWVHo6TmgW3VBGE6OxIrhRxDQK6jVmwYpMm47JvmKyV3/DuGGcDzdc3eDnRYdPcdlQvl1lexjfdHAd0RKqAo/Po6lqWYIEOCYAeO1/I+5dBsyPYlyhLshUsckVvtTOTo5heyzGmRFyfADW454Pon/R3kk1KlYNf2HGrtiRPOGobFPKiXtUhMD+ThRDBD12twMXjNJFIsRc51ouBfKukRW7BVwA/8juKeUEghc3gA+u+Ff5wjE4q6TSW/CfP4LPIYl+Xu7HF1aLzzcFVSeAm8SOPIRbvgRLvfS+R3o6csx2VpRB1yWcQF9V1DT3mgRwkeF9+pYqxevM5QChFom+bSf+Y2Gj/5m2/WPZcsQJAX9Cyf5T6Xux/VTeEdoEJxyEcItWcB7fpVxm039W4vKxETwZvwB6XE+eG3/msw3cc3OX6UpNMafIEmg6GpNVlKeGPKms9yh5wFrejS7ha/zd7E0OKsg0I65f+VVLLBZ1p3NKDrnaxTXyz0nbLEaQtuBRdvLybInFMc3RveVE34+BTowCF2LKU1awChppsoX8NQClfCf73J/wQYKFAtqe4AvUiW7xF7GYixt2p2HqLq96YsPZhjERRc4C7VDy9yoBV81xCIjDm4LIpsG7zVs59xWPGRpVgo9ijI5CspOGrU2pk8RG/qqhtg/EdbqT7sl+bjwgZ/HlfxXO2cm5cpPXO0HxBkDg56rjcPVrJ9+yyNCKmFoeD2XdhPsTIcHlYRdfieK4fY4762VNS9SBGXGsuLMUOa6bCCz1xASqbWlzJ9IP6qnwCR6jeWbw0iyPRu2CNn5+845MGvJw7S1rcTVBT/n4WlbTMmcmwYx8DZgQospbcIKtvy2RO6nlD5Tl2n05R/HzB2HqQ5KcYWorar2dGavBp1RI0dKTFFrZUgz6aXp7wxDd3+GFoufrzwRlz06MKidEKdMXfvPshjYX2nDtA2B+/uRa9j3oIby8EaCFoxzY0QDSJ758oK34lVll8cF3PGW4i6nhaSph4LyEchOtKYLOVhV6PrC9RUtB56Yb/CS7Q2LPXYA1QtoRnOj/V7fsprcuQEvKnol7mlfQ0RkKom8h39GZ9YhaDlPSmfTg6WjdP7cu+50HK8Jxe0i5dJnl5FxMudDHVRcuvlGb7cqNh9HRUIjq+k58pCohAqPidYgY/siba6mP9wnUOPUS16/c6OlBI1ry0zWsqyPK6zniT++anj5+GjUmz3Ohg27wSaOlK0ySSDEHGkKeJSMaV2zZlWmyM7kQ77bVm28RRfOQHOxoFAqH4/9jFOXWgjaPqIAikWF/d9qjAsOP/dLSpzZpSYJnccm04cdWF7aw+zjS2wVi0N5+CYjS1irjcvZioC5snt4JqtUPtX3dBaSKquhIv6qixLuVHwWMhk+Yprx17Xp5OGaCmz5VazV1TjOX7F6gfVXShDW4sbuZT6/rvX4/v4qqL0phguv0w9C64eqoCCReo4p7O0Zh7wBOYgZ5qLTK4AJYjq8aozCodnuZCiHwvguttUcAog8h6DWX+5QtlGpfreyvJbQtPE1cV9iVd86xkc/0iuy2pDgqH8M3t6nJqqYa2PSQKNmxqFCokKzsmm9GnXI8jQ8hlnrWvniqBY6/pzFYrRCImtR9RpaA4sWpTRU6HhFk8g5t2U/TL58DhUbaTDWlHcBdrvvP6qhna8mNbjaSLUH2WJAgpdM2WlZhgusQs6QO44t/FAz3cuw3v8EVrIyoce+EA6OBUYCLSWF9Qs02etDXvBciCfEZNL78tUqmgvhmfFeJkroMO7LhjActpEKSaYL9lyKwquZoumrA2bE6FRrPx7l1cqnHlFPtvUSH9sDiSKNsK81ogSfYNuAo5OUVBY4oIKKtZMPtTShgaXK8U8IhIsCoan5ECTN+xzlVjOghoR1G/M+BWdkgyAAux8YfuCVMSk5l/r7aMWilB4ceKOHNZ01q+8FQ3LoIdPKUbupaPKRURsLsFB91sP49+IrXZ4nPYoujV4IWqyGxgZgUuxMd/TyxjbXCEq5szq2/TpYZ56HevaEHP8Jb0o2YCmkDYZuL1OjIKpfDE+Iray3tbxV8jbX1LopFYUrCrmAkeZ1ROjNY2frVvKhAKEqi1EZ404OZuAM9AbbnYOMJ3bZq4bMho6iHWnrE1y+w6tQ8PlGBCADu1dxPsOnWC5FyXssBEfyaev4L8ZEPHboChuEBMG2NqbFOHDrzSZU35SD+Tsm2amNlk9n7N3ZWPqOgbGRs8LYN3hfuGUCavyjft4BnTVOKY8ackdoKLyzK2rvT140j0dupyy4bqUQfl9w5llYgzaRYiF93IOd/+ob/sqTJ1iz0GMr4AIscX0eiFIl7URgjPiXboHLfW2c9JyIOh1u3pyie3ZKhkfulwfXYaPuKZWdgdny+HxoEOczTRr1DL6BF0eYuUXPltceITlIFP7rv96mGrCFcppw8A1EjSuzZckfCtBbnATLXqiVe342ezZfgTe3JbC18rByc4pd0559VIhR+E8dURXNjK/fHHEf4xlmdSS7qpUxzCNDBou79tkqSmAsPEpkVEyaW5Au+TNK/3zJtVnySE3uOH5fCnpnlw+9kPwkCOQgNkMdRl5b24iv05xzNKt0uQsyP3jIW2N/XyGF++SGpLPyJziSx0ig4+qekoPMA+QfJOOUjYTAWSRIaKgPVGgirhrpq26cs3LN4eMb29iFukpJwWsaIZ/RA26F1ttefE5i31dJFnn5himuMmhEXXYP89UBbZ67IJ1jv2XkbOpUwepO7bcdP5rqqTuZrEWLVVmTWDTRmPch4VE5xWOwx2zI2mig/JSOzaLX+E4rDvduLYraGr0KC9LWsh7vlZn6s9pQtOIy0uNk6hWU+UmAz+ft7PxaJueeP33HwJYBMZtacrm1ebdyOdOYcQBTNNK4R96bFBnbIuOvsvYSr3NRjSLnlD/xK/dhwbPfncm6Z15J1zHWTa5mioFyzxJNrPwIdvcYsZKCaF+sbCZRhVgsmx71QF2zlEjX24xFtiEXSI4TAOdiu5e4xPzZQKfUWHMiKv2TvDOi0FmgweHMCLjYy5eIDi5pTAlZyTmmHX/+JBYx12OcXYtzYKkfuXaek/BvogH3dhB28Ju0jgx/2ys4ANxMSmm95Y+RqWta1qX2RVaXwGriQDRrK84zq0mzqJJmE5qWppGVQaeg24Jh+geQ6+IUp/+vq9I5jcQBZoJCjCxna6Bo1Wdz6nWK5+8mjtXz0EjaaIBA2VvisceQRooqUs/qqndHdrzbc7VomADwgZuezOviB/d/Gazms2ViQPiPnoclu0hWA96KFWd9uRsRG28yz4tJaPWyID2iQn9MMB+x5gHoLcOSofDJnrdH5seCL5qDfuTiE1j8/3bzegQkCDcVc2+eYdUxQ8GjS/xAiZS4U1T+wJhPcb4I2WzPAj1W2TTdQ/kALqOdaV1tPKeqxmfw4ZB2GgodAz3DyjLz1Q/QvClh59mEmtl9VjZ95IUow1Mye0jxSLu+BKRMO+sIVzkKzzIXhAlD6GArwrSaws+sBC5jQ8RkhsLO1lPBMTWLF28pegumWhWxbqXaCeQIqsE+bvjBypHQxmlVrjjnVjJ5qCnKVLYddDisprQ91JA+Qumz1Ax0FfcEH0EwQqcFxgUaO73gKeD4H701sOLyFpVjc9WWsu6JjETd7ZlTjJeoRp2SBnRrb4xBTrJiFi+HTIkJXqS3GWrxbSV/aB4wS+Se8fu5o9AO7jzs9tlZMdxG1/Rj+KwaPnCZnTgdUUkvZOkG/cUZdki+aPjaQQdzFBDJoI4SF0Yd93BM4feKF53nKiqCRuNxjMxXaTmjVBBzKHu66cqFVMEmkTdXW3/4ACGc6ALkt1nrGy2KWn5jxooDus5Z7vluE2aytzDn5+X3ba18vovWTTz9vF60q1SBw5U1u0QlH34j/kmqltvh0q6f8W2yA13ZxCZQCaNDzFuyVbIX7mjsHGk5qodNSH/4jtjoPYrFOXLotqkiMm0KrXMjs/rJU+/9Hp4LJLouPDjWZU2/8AEa3r3zaJl0pvJrAuGepyGxu3n+bL1EF6AwCibb/2so9xNSiRpb64HtFkyBPJ0ewmvouBvWMdurLkz4zcFZK3UL/DmZx4ENGmEjO2qRAXYb26o8AJ0SA9IhcSjHlCpjpAq5+bn1+XSXoasiqDnHnDSBP/sgda8O1xEjCakBeXSzVMV6ygZZ81J28kNfCIoppkqB1Va7RG4Vq73jPamo9i762/oiBlojz0b55mkDkGcjOueoiFNTMSCb/cdkMDXHXULUwwKeGvojw4vuk/UZnN18MX1U8UevH7Yj78SfTxWzWvdsLFDa3oSp6Xn2vAFqcQfJB9VPq47VTP+HEv+MZqw0m/nz93knOFPR4qpC5+qEEeLbSrMWgrE0raSAGWKY8OHuenzzT8TbWlACk7kBDmlLpEavYx4+8cdDoQvZJvDZKB8MGLrXpQmF/w0T2Q1BJ2jZt/sX6FoGM67zOPpZys2IxC4K0c9dSEre7uu0q+dSwnfOqkia0J4sxun3DmH0UTlUkgjp0jnYgfNu5iPc0mFAje052qUmb9pdsS7WOlJsoBouhvEzyo/BuVgWPrlC5Uw1GsFwd4QHM1yo1jp36ypamWPhCjLAH5SqwApPYqEAM7OFF79jbhyZJN+/uAQBoAeztrNxLQWoNYB+Df7HyElXmhkz3gQrsyjEmArN101FH45pIWwWtG3tkm4Ij+2Qv+MpsJ2dpq9NGBLdrx8J9fRbpFbeuoWVqbctoj0OQuRPMrEujIVilQAw7JBBZ9uqe6RnlUx2bb82U/e2h0HM9MFR3DZshtKoFULU2X610ukIiMCd/QX+WXOKBcGK7gXlM9w9cGaEAOxBg8aXOZGN+sf3znubly19WIIf10bS8oEfA7Wc/Gb1+SxVHhnJhnLz3444ILlbGxlhkmv6spJu6KKpCiTROHCu67HbgUcp5No4jexAihXi9LZKtpFNuhZ34d8iZwHbgH/falvAiHbxm3M8/xhaUamXIm19FckYjAjIhLv0WGWoQV0sH5e1R8ZL2mJyYvuX84ZI0KPZI5/O6kACal+XrHsMXcKzeSNSbTUCfr9/gDvzatch4XQePsjVdM7c85VHdXS9dD5xsRBpcYxHFjpTVaA3rapLy0l7eSVQI+cJoiSrx0ZVLOrqbVUykpTFa4VHuJdZYMENRvis43p9hjdUwAq32kR9HS639/HowNXbNXLavUEfuDKCl7ZCFJuJRR4pA13kVHmnUB/0XYiFXCFKgC2D/IE0xyUsSddKBi4nZLiP7eLDGy+AKgoujfrFbnT5VcuF7ZRGzxMhyhDUQVvGare5Ejk0J87HgQyenAOfZKQkccABYxi8a1tDAPF1pXFqUQ21zV8xwjEqhHpRIUvkQTCxFp3oSScOXbHlb7RbPqq/HT6pKeZxtOpTVkUC9wvb0CbJrXImCJ0AF/7sjMXWYMk/q5LpC2hnQUjzQKsVsAB9WxrIR7x0LUWtB4YfR67rAO570ZfEay3XYU2hDZhk/+wPKLw+LdtJbANrtc6iq0kSVcTaFs0fxt3H/4pdxg/tMoXZOmRxzg4stursB5dnsyYzLuyc5kioGz9lkC1MigiMjssc1VEtiyozvz/AKLg9H3Fff75jGO4zpPtycwyoObrxu1FeVAUEtA6lfBp7Hu1uVJsUekjW/gXI7ruZHFCmHNy8qMrwarmV5Rf9rr8XVQ26GCtyvVEcv+1Iw/AkVjXg5pxwMH4S83RUeJgxZLP7J4VVBZP3KIPg8UGKxQZiKt8Lp+Xu9CoigSFKcPUrdI5W9G4Iq8BWxg55fY1eGinyL6/cTYvBRLCkOPs0JxKEdiANzjXauapFJzXxFVYt4oQ8O7JPsyp5LQYowwrTmmHiQxfIzp6Z3QDrekP4FXpuMEa1KiGuC0ZkevF49hwm/tP59o9C+spsSpLm50WER4bMb+TOP/lrJQ4ypm9gzldfjj/NwekxLpby6KCjRxt64GVHl0qxamqBsFBqsJpg7AQ6KevZNIUBZa6VITiMHC6DPpUvl0eX9F6OS3fyKxrf7W2rvV0b2pD6s5BTvbedcNnKxhn8JfaCxr9BNIbGEGqYYd6mf6cAax4tyuAXKq/ByCmBrCuJHll3tDeo6oe1WBDh1pJJvRHMmAH9rZqwaC60bQVLbBrn1VjtzH664R96Bm4oMgkuuJnhy/dgZUzdQflRRJbSykEuZdhw2aMliH/HVoK+R1HveN3ETe4BIIEqywZnvy1g5WvNa9YVgmeV3oCcm3XKXq7fXrd2HcWjrRLN2dLl3jCIG61gYK3dV0uBaVzi9zv3krukcWTHUO3q1gRmjRRjYyH5Ochra2qH0eELyJwLrrlrxnXOqIVaKOh6xGJoVBoFRis39HTVAndf4dv07N/Z4KmPiSV1K9+OnLRkv3G9dplM3tXQ0OS6QKvP4mRfl/ZzfC4zuuPH96MZcG1jAkTe707o8PVsN2BeS7ductU/rjmjwRszy/0bHSKA1wOMfco9Sc5FdfMpDvchA8h84TofBhbeGF78xrI3TQ1eG50yfwrJDM0yyGSdFQ+sLulXduUI8nd7HFskIdjfbHFAUERFkrV10QWByXJnPH7tGaWQhkEgxpb+8Tm154gO1pyS1odBJ/GKwVFSoGn/WKXB63Ms2L+u5HVuSrlS7wQnT4xYMr2U2BIwWsOqnuhmwQ5anOnJqR4gaUP1b/sq5LOaq/oYc+1v8vgsMckbgga1P3ed1casHIvNooU+coSnnsZMackvANupv0dOab5FJRaFgEUnamKYkyvDfJZk8gX7Rt6tRNi0h7US4aGwYUBOCPDP1YElbAL7ch0yxAdqBDffQG0obFxIzVY2C+Vo/phMO4ueX2wiKrTEZxXIkN9f8zns86G78toBOuoHnNzAwoAo/7CbyCuyPPAie4T2gCm1LldeNPZJTET84o6kt1BTs4DMudGJ/6hprbII5gJeJTwRyEoWUqB3a4Pz4iOx6duNPIcfpp/bbLwYNDydLB+P3nooRuy81FR5A9Q4b3okdhQ5ZVhiG9Eto1AhKJjlZO85+Q3sCz78tYoiOuC4zEuaYIKLjfHITWzPNkmk5fJ5+29kuvtTyTvsArxi2tLQDpk0oGJQxqpRKsMTb9p3MjBbVUUGJBzZWC2Nfz+/Wh8KF1WuX1P+k+DFvyjI7PQfAY7l8SN/sHAuFHL6eosh9E0SPEGTgZpSVqBVD91/RhH1nvoX4M3i44soDtN1f5qObQXXJIKhzT68Ug4+Avv6y4weYtl+Jl5CiVVMWiG3RfROAg3n/Cf4dt7/80O42ngFecWOyGegQ32F/1RmEXEPIfxS3nUotsAq2nvoPX1glQQ1jtxIQId9PV4aBYw28PKgU8//ZjNmodqdiLtS2LKQ4Dvb/pZ0fiyCc2286UBj82E2rUvYx2WP7QdBMpcOuYIBZKcN++g3Ipjz3GvjfIHE6h1/iQu5uVKvA/mu4FUz+EpqSt3KLCbOq5Kd87Kww8JfHIFJ5sPuzBKveYuYWCFVtAnNtB2CFHJ7P5l12jlzzH+d/GxjTKz78R/8TCs4/Qr7TSy3IxBe6EUSsA7s0Ipd9Uib7bq2axTXWW3Dqj5dgzyrQEUc3XXOm8qCjXnNopjqQxHFpf9AYyV27THLkyYoKp4C76hW3bK+2GyShsxDL96PywEFQ6J5r9PQmDcPfOxl1VESoaW3vg+g7+Oy7krUxv6rrIw4prha0mCFN041pid7vET9VFpEoeE3345zq5Yz1PWAjM7vugdhofj9s9cS1ht5petP2Bf41uGmjPYYfMKUfL+3nlhflpqQEVOujORENEaUa7uSgup90Xprh/KecIlCaRjcF12xR5xtYcV2Do5pPS5PInx51Sa50Sqg874iioZYS2zmj6m14wwJdaQ9slJG75POeT2cyC2AvqyXcZ9GLE797JqRJDjJEMNlrbVFomVr3dM2Jtx3LcUwjVw4nWKecdyJSY/rwTrie7NhxkCvvEcZvW+hjfhbG79CFfO6DLyaZip4aqfBorsxNBY0HaoBUan62mqJ8rSNObcx6us1mlIY8ZJjXfSRwJvRZUd68vOI/oQQ1FAbM/bvLj6PwxTzmj3KhETwGKMtKMw2MG6T+kNyT0kD/9vzBhyOc6MUBftfKw7Cwk/eAd5IPSDTdVSCw75XDEksJm/2cQ8QIGHebq0bmshKiaZ+mH+vbAoJbmNXF33EQsWnm47Qwc+LldXBcT9054clDXWEhs+7K7C/Oxu2XCZm8NmLhfR1SrSJ7pUZu3Gmt5eWvXCD0m6dKM8RfgEdOg6wJsrPSL5P0//Ko3I4IED8w6E0cX5UaNJeC/uxt87kP1wFsgqND+967jt0ZsNCRPBV5xQ/se801o6ZP0EbHZrUfcLozjaIrW2UmLh7BySNiZXDXspmadgv6f+uaaSSbAVDHA/GW6z2sj8Zw2awaTzhEmj3iiC2p8AAy3n6qaOzSaIyAg8KvtRdLy/wDNW2nNjjKFtToikhOJqxk+D4Hnyz2T0OoPbtqPhoar/BVDepAsU27kcvhrtN1xMC8LZuD7JoWTJDUwfkXyaCQuIda1/GF0bW3lvBPEv1ZOcwJ7PNHZf2BSlnJUnfnJBcOiG72ydyz1hMzVfriXQnhmUJTB94LlZAKLduybY4dIcRyYTS+x+D2/PRmmy4Jp0WlTlJqauITNlyrvf2EmRTgb7itTdGN8qzDjhn0fJzeu6lZOjIa79PrpdWIQUEcOqLP2G7Tff7dQxVwxjA7cmcavPRdoGxb4dXzqQeGYvG0CGOp92RTDROMkJhJIIPmAxuhsWzKvrc5zqOlYaOt2LQbDScmA/fXdLEl7PdauELQQJaJNkBRnUCvaAmEal81OC5Fi7bjcJE9Sb+P++cNr2hDAYP3dRpF+FrXVznU3fFZYXRYAozM6yzwLDtzzEBYVs6KDR+9eaZOnl4Dj/ueP685mQqXxbaHJ1i+pLrTnpBjThOOcBUrNI/LRHPXrUfVgADfhSdlGJBvdcgkazILehR8bM/vXBzS2BYVl74W4iJWrXDdwrNrLidtN+XZBGOPLPr1yDhwgnTTw/WDehzuDs4IsJfbkw9rLBv7LpYECbU8Zd51v7SfbuYwIUuOSlkUcZBLplN+Po3TJ/swxL0k01f3Pm64ezDH+P+6sWhD7LXdQKmWUbYcdQkpOk/VPZaKP3ngLXoB3+5eIhd5obH3tEkV66vRGen46TeZO9ZewPZ2Fmz3crsbTJ/6wqACwaUKfYpEy5vBU1vTe9osVIIXGL2STckKZPcfQj80xmaDCeAfmRpTTUACdwnqa5lmzV8BdeoGFpB9Y5d5gAfuNftjKRM/AWm1fFDZyu/cX+2p7d+EFdsQnIIb8/yZSEg9VmthWR5VWgcqQcfhtXT4WenTDrU82hxxS6SolR+VakHTGuTpv+fupRLuH82w61HRb7mDdgamWsc/U0jd8ODNK/taFZKYhfm4vfMbJL/BpHN8iiphNq0ogkAyFeoooiu0ciR5T81PJEHy/mgP1iC8qdigRW//giFkQD91pBHvWF+AexjJb6qKk6cHOFCwrsmN1qNEKs/34gdoFDQF6ukShpXxZkUrQBRr5l8vq1BKuMzxmpx6xGSswZoYaDaShuJ4oWbez9zbkLcLNeI7VJ+v1rNE7lQysUz3Y0L6+sTxzXIos1vj8PF4+VStFaZcT1j7GH0SdFteTGeSi/cDqOK5KSv2Q26k3nxkqZB+0/N0xmAEWEmLa+EQq/OmtHVkhnhNkqA9ik5VH5RYr44VLrz/BlfCH5ZM094mpPJ2z++WrEkCdMxOBDHx09qoLSC+th0NB1K1gwqAfB4RJ9ITcYuf5jPk2vGpSihfZqZ5ell53+Td4W/tXvPkkWjD1y8xkwjpeyM2yBjovWKnBl5CxrsNHAD8ukjiH4UOZj4HQ0PicP2IaSlQ3JyUo82RTteAJNk599r6tTaIUU0u5iOjUa+bqys4jeuUcNSK+BK1Im/DF9Hjv62mKqPfyutD4HP+fouO5/WmRWM8aQv3Acr+oGcQenItoSV9C49H0ezUUXoSKyQmGxAoQY7EnjekqkY2MJIDdAuT7X4COTExuXLi7X1DWOq1mP2uaK1ez/TZuio219fSyPr1s03tZ4wsBRegRl3iwQ9FPBI+ClgLm2Gnh50YsmfIw+b6eS/MzxXedngApspUo5kKgGFFd0VGauzJmjBqc2iQzMIbcZnI87I17Ew7lSfnuw3W1SqEBbIU4KhKHasBJO0Av2I2QcRo1k4WjNBtINLifvHbM3nHgNLnhui9bAZqENzk8ls0Gi902hDaTEFhTYONcWH+/ZkVH+Rpc48nbydMi2jpInLM8xA7YqVkGbTt7znnQm/NQd3u2mfoc1MvMT1E1jyia9AvdT7i+DNaaT6WdVohZywfJ11vHPfn1xrZ4AVrLH8OTFZHopzfWuQ04t4Hc+kY52r+EAXGyUO9OxeKDD/rWn6BZBjkFTYl2rFU8IHIw7iw/XOTT0vYuzc4bfRiOpV9oYZHrDEUmDKLiOaat/ZF/iqWZfVjCrqEdprWmzAFm9nwGEjVwXXb0sx3iCRxfqvjszl6EyfDPBvfFb6fCps4WRAeRW7hzXELESiY4AHn31d7xPL+VOGlHaFJ8W8lVx4Bsm7rpSYFYOXG+EPu9w+mmn6qW2IruJNm+Kjz4SLMHYoGyMPBFcJ7U28bYOSNpIqBXniaZErIFr31wgHmB5RkJB9vwTT4AzsxVyswrl7QIEpOZe/TXT4Q3oQBwRFULuZQGzSKbmde8gle08s0fIB00ncGQCA/nXYVQWzDl1+/tjJ/JUk3a427+fOoHAMyyVPrUym3nAD6xYc7PbWcTNpg5rZ9f9IQyqfdPwrJROnNTVsGMpY0oeGO1Ysfpexx4jNKC2oQTAbvQ5Jq2d4sNtqUa6XBAXZHScD9D72ZA2C+bVCV4iYouxnf+Yv0sgYlrXHf9v8CoUce+XhNNrvE0vAaorqkWTgPYANJmBD2NV/T6M4LNpAmajB7crrjxWLgy8NQ21K3SyszGivvBz6tmbXV/b2fXuCuk/vKyuY9k+v3KXo8DDx1WP0z6nzEibfoa1Nch+hXCZd5QCiniUeuOlNhedGfBxBO00ud2RYlvUzwqOV19CDa9R5yJfKG+oXW8Tw05rxNhsFegkBcsc2QFtftfzqhiFbKozwVOlaiM/X7+vnT2OqYVM+qWYCllpgcJN94t/HRKMJqxCqmDa0SVK3j/AHwcsVFAjVIWJ/veNapLET6TnTRGZy2WPSTzrIj1pYaSGXTNr3AR3P/LGB3a0DB1t8LEirwHek/Pa6xDe0OWFSIk5sQ+TiS6HXCqi3lgsNxtvPdcfmDqHizH40JIWwaCW6MAFguMuu+01uSDGkrTJnR6wWKH7O3lnWnmprMMaIyPC0XKtp7CrJSzY+tkF02pcMA4QmJbd9Mx8X3gyg6YiWpzRDkh9klaSrBK83rfFZmB9l6OlrcEN5q/dhj5vnS1bYtJt7u6lAH/QtFdrN4KWE61reI1jX63bjT3hTJvbCQ4Yq4uw+Y6sj9DXR8fcPg0fHwpjouwgpn9bOf2brfD2eqrcwiiBvd1BnZiwSPQvmHoDiI3PoSivZnUDOjX4p266X8+HZYFKt52rbu2iw+BDaKq/1h3cgtByqDzeQRQ8fPlNFV1kkEMY1QPbJmaRJr7pGLD9bJpn4wZ7Dwh9IRG7SHhuJo5NpAvJzeWkOmKH+8RewjVHvrmc5WDnaNSnTL1X2Df+r6Eq1SU/5Q2BIJylkk3egvCsvM2KU98uFdlZMyTX8pGPyWi/W79mYRFtzmQ/0k00tIXV25QgT0B4f6k5jfJSaLn9UCm9nCi1ZPq4ygrQUFdAwtRCmgb7O5t9mQvGV7y4PYMFWmc03kpULxgdAJY6Qo7mas+HW9QRNjqHd8Rx7HRjBOie4EoBOGMJ5RSjtmBTtin17XJm+E92J1JL3MP7eU5S7YFQS3dicTCjyO1FonaGreZ2NuNlyH8lfCE/zAFzLdkuWFwsQhcKBqMNqBEJur56m/zQqQtYLKQEVP86al3e5C0UNHYm2gqmc5uFExG3t4EHjgaz/9Dzcc6dv/MjFacbyEaYcaYeLNu/v8m5JrOMEuKCbLwhwpaDXETQEA1IkicVbFdIRKEzyqbVA3otB6dl3OqIih9KUnVQwrrAxOdKAWXfweNjsh6+C+Br+ZOyiz8FiTJylbFEPsq8Op8QRffjMo0StKEQ03ES7S/M0F38AoINmRurcTwgAEowHB8/YwrxgLaadD7uAegphHoLgL0An+42+SJDJ+Et2EtOo064SfrHPhb8s5b221HFqiG+dgGjksnClYgrFzaXtUcSU24UA27Cw2ggmC57csQMzf/fgl3eOEZwLT+yxHTa1wQ9+j3FsNcHsvU0M2MbDXLJdbUAHKgtSg8zlNcnwSu8CFHqIUp7TMZh2cD4sB/QnWrDq4vVhIv0a/ZBFBzqTLR7V9e3BTWJikro8WErdeYm0ZLUw+3Jkraq4/XqFRv2/sXBrQUctuak+Pbe8s2Ga6A9UghJ/FjqnZ5NtjnccxCs+gxh7SRtaOuYtV1p//zJVOMgJqqZQc6ZQT27umMC9I6U/Sm8BfZe/AHy5fsUiS0iUWuFmzTkqOy2f7XXLrXzyygOpIleUXVGAdgM5rc7NRw4nPW2RV7+sptCrSKuhXPk+sDnPxkor6nyVjZEpvJkhR4hkFl+mkJaOlpcQ7Zpsa7aK8Y5tMSEqlzonptvcXQP4xTjHF2ELRg+yDPPVgKDb5Acjkvg9YI1T85hmJ1+2JcLYqlNt/Ce0sADHr9vAhI2nWszN6sZ1hGyS2Sa2Axz5He2rtqmFd7111OxUYaw44+4H7h7MDLnpo78Pe5R55H9qJbKX2KnzpaqoQ53PbR33+FX3W5piIB30LU8hOQRRK78JH5q1wLCgYIqGmOVDU1f1w7aCEodZs9kPGpbh+jvDPdoiuTiXA8E9BzPWFC+CMA8JHakk/v5lEcRlPNTtnsLJ0XlwiFxwN3m4F2a6ZgOa5L5og3OGtVKYdezvX7rkk2b34IWJ9CLatuZnd9b4RG1IaCKTjQ7gwf78DCFdzsGEbgxhaV17EsUsr3/4HDkur3LVfIPTVi3N8umw6PqWgTcJrF3bapV89DMwwbH3WXptpOYG3ZTQi98JpwvzifwIdthqvXGh7Z+721p0viXS+OkIcDA4hpmIAGj5T31F/o62RJkPW6f5aPWJg2Vn4LTGprKKQwRFkD2FWoRA6fpgbENxsaA9bJ6NN1JiVAe/my+zZ6cPNOG8gFv4oPK/iMSOy0ysKOsldySWuJVcQyEeIeBhaIfQhY5G5Z2P5FNBgqQRpZgQRhbwQM1ebBcGw3eF8NjK+GgMr7O7qslPgLIKHx4Q7nCR3brh7gla6vcQ1YT3DWfnR0IHzfGOYNSEX/YAVBgGqA2Q3lJXJ7+WMfo29EKmn6gyw7ff3uA4KhOISfcI1x3gQAt84Pq2TB3JBrRk58myv4CKIr23sRsh1okopjEn6FrwO1piSv2UVTCLErhbfzURNWQRxzJH0+hbFT7XS7YTqjZTIybt8NYszX/Ace7jcg91/+dYkhHbo0eQbNrfmG0/eKkxVxFjUXA/X9z6xsavghghZ34cZ4EfXULw3IriG4fSQCzWd+9EkGASQFhLmKh3HfBVsyW6NlaV1mc8W9jDk8KM/B83qr04Jh+m7ckOqv/WEVEJjhGudO4Uz/YYEbTgCrbvZu98OLGbThm9yVE5R4dver5urrdsubTRVXLRM1gTW4gH87SWphU/IaUegyjJljeMjiKbfkKUSZhj/WEkzD+0a5FI29kXnNF81HTVuTKgcv7qEx8K7J3gZpvvLzFV4d5qGiGlNMkYlVgcUTGcT8aBC38Ngix3KShWB6yyzt0+C6Fvdmdwc2lqFw80zNf+0rF7rc9uRSQ1hvGme3Lvbg3sXOikQftOjEXUe7oat3Y+r0JoVkGy8q8Y/0Q5C8e1Q79l2lIlxkMMgHzioOGqRVf2czPEkM+Hee9mDXAl0a0kTI/MRWn85kcJ9bkDjCoXzW4si55k899qqcyO6F20qN+CJ6+DxnXmN3pRmNWHC/BpI5jBeuXYcEER0w33XHNuicepbhTWssMBa+LgynOxtFpM4NArnppvF8dLfJbpIwb4UzA9vVhhdI5+9Ceig/bmfBz+pcf4T08obI+mcOvSVNFBxVkrgdFEel6eSHv1su3Yo+PwWacjqW0s1/EAEQX4boF4cLghiWCvYpiG1VhcdIrJpM/1AlrGqL/OwphPgZauBYp6XB4M/CZpRC5gPst5oEHULxDsLFP9GczpuzYHY3wxlOnul+II8zTv2HFtqs58G1ESv+ikNO/2U8v2+DBVIvgle99HAcTyIOtDbMYMjPr3cFQilmh3J2PshqiGQDYWMLq1ao4KcxzyokSuMjlJ14SLROaGSQQQ3ZCJcq/dnvFQtW0gfOCVJ/H7N6LlAVe4jUJYJ76ohBRU291cjKuxxuOXK1FP7CeCSuCgy/Vrxl8QmPrafqkg0SKBTEIQnC0R25pK0dxgTbKBg5nLtvWJnjNaO3hcoMWfHVtdRIiI/wpSVelQ170LdJV/gmMGQcMX4zWQnglkRbQH9eceMpq0LPBVuteBrqLNkOCQMkvR3qtlEzU/jwpoe0ht5G0mmY9sb4XrTxaa7xcf11//hGEUmDK8GUBFDhqoi/z7iRk6bZtH8FYAYU6YmQ6ZySUEpsnYY0YHG385d+0TyezdZJOU+OZQclYKhoSVbOtgFl82e6v8GRuWQeSIFuiop3kCA2bCpYVmbfs41m/wQESrUz6UWmTawLdxu/5I2/jJUrua33PYzyu+9sJx4Wfs44kqFBwaANJkx2sJDdV+EZ+qeENs5mn/n7yXRaU4xx/KHVaELnsbDGEkTQa4l+x1H3ecySb+c3FnIqNqfofNvCvQ5AyeceuFr6iZE1Y1FwEZ61+dsS1A8sfKo45KUty1ZBGbz8xnwke2HJyJI6f/f5hq3ZEMfPnBmZFfZaMRaJziupWT8kvHGvGyNVg8Og0ZVmoLnqt5+iw020bB+J7rLBAooXWSr1/oUGViL6t2Gcba1PaGCRQqqrb9TSGQ3J4kx8BYRUvE7yI5ORLSAETNCivrtUHxPYFBLrJo8fFB3zDcxvoLYydoKUfEHr0/CK9HU1l3BTCO0NRF1+kakq5zAVtQnNbJH0AFEW6iHBcUPF30FIJXLmkVADE1YK5kNDYLU9WogkxTQc6dFlM49NH270vMlP47TwXCIj6feqNUpPu1C9SNboUpNgzAaXT88nbHccJJidpA39041JFTZaDNUiD7GR8m04UeVggWbkrOjKOhvEQMXlyUNecEu5BLR7ktG4EN8RH0DvUYxzY76mZmuOsVIbVfC7qXCvKtwQoQxHs5V9/meUz7LQ66vCUT4+dB489pPOqGg11YlTAvg0aHYmWShF6FkTzN089N2eGr9N7cwKqvVRwNpHr6qflepyzx3MuMbiYPWP/EvcUrIBZX7kADnrlEDCmhejb4Xo9Hn3hFsjYNwZxR0z0gnhReQ2G5yYJ7R4VVDCk43AKjbaqfd11EWe4ZCv/pqEqQvgnQPUOaTsME90ifed81UKkKKZGqX4F9f4ATvg+cS92Ol0p6YJ8HlRliaai7jeMQhRDtP7snwUzFS+98Ok1K7lIpSOZYMGGJT8FCQH6ANZXSXPX97zO+o6DhwQjDWVpKqaurGgVEd79tKj78AdBwIFQUAIiEkHhNM678N+aYCcyxBj13Vr6dImh59+gEOj5V5L2HUH/hnJkqv6t83PrWO6izZHKFEX9/gfabfNNtRq34g9OTmn/hA/L1RqUgAf8FjQi2BKc44NGxgscPW5SgW+62Y/GB0P6O+c9qiGWEzZtx3WWw0CnfEmNQt7dDyBxMJvXMIdDV3ztFdHR/ZN0kigu/JVNngcJ+l5eupXK37uRHk73IvHaJ2OABIreliPqvyxkxe9NmDrUcZwAM8ab/WKXm+BJF4spgAfnK5/PsWYISVm+KqAcLwb2a1BcgkDv7N3Jj2P8ccUNdHnFnh7nYUr7mlQETEhBg65gmXd3bXBj+8/Kf0uBgiWqD6sHLf7hhKl3RIVY2X9vWl469AP/AF0c3vXIlYHcEccBpFway/qp0j6T3UIUM2kV/+IhsgM72Qm44PLkxRbpfm9tuveCSTJMXf8R5TPB7wvgEdFrSuNoiu0nb2uQ3fDorznjXmieEmiuFcCTx+BeGBi0Iy3QGe7WuZXHe2aiP4diOsp/ZWvdVJ+Vfu5Ic/Bo5Qoo98OezaX84yf1IjxaWaoondwwRe43vDeGovSLH8eILQko3QHPByIaLXbyjN6ixS+LQKf3g09Knk3JMbsQEZmmizI6FK/wAduP6/atWFDJgF8Xi+RGZdBVnUfZTF+zj0pRUiACJn/5MQmgPS4yX6tqGDe1BiCI2eGvRAJw1+q2WXK1myVWRT52qbe42L6ddN+hd3xvmAWlIPcNLXx9mtojckbu1nPSuBcYRPuucMCo7j0W0976r4I3+kocmCRawWebasoOS9RVFai6dqpputgFBqk7U31N7Qb1T3Y8r62wO66qkXNhiAZ622H/ODYWBadB74FyjJUn9YI3zBThDZGrhXIfSIGQcl7LqqQko4BKDrnEwoeuaN1hERb6IbjztaHfhjPFHngFf9uIaB83xCHGVgwT+wDB92ZzVT+oAn5WJVfQ/LdYADC0Ukb6siCyQeNajVwvbIwJEdZGjz1O9zIz6mttbQ6HhgRA8ffMtPwfupC03rn9VyR5O7atjYxwuS56zXtVG3oTKv91Fbn0IE/lk25LFrZBIhJGisvS4q0b3X3AhyM821+XRkUr92k40GlQWWPVFI/1HZCpMml/8OXyc7M9jUeApnpqiWJXVRQ7N2R70meTD+P+8JGFhabB/KumJZMjU9qmxC0ZcBKkJODA2MP5hGWpD2jYFtEt3snXiVkFGK6jPrmENMUfZ3ujDMIfH9rORXXBq5Bycc3PqBbkUetdcHwMeDmvkZdXFgnte6MQD+awzy0q0MGTgp/pGcqfybJ55llWj+b96vniDe0h1vhmrLV8Ad7EoKp/K1JAJ+ATCvRyJGajT7QANyU/fIYKi+dv5jswbx+9S9LI0zZM0uaxI3y45SFGBoIMm9sNDQ7BF3gK2V5Vc/NUmiHUYoh1aRgUD8g6yAIpR17ZA6Q4YXVqH1xcwyzq+tnbXulGxXjG9FBMv1oDOIx7AhvMFyhTi46SSqCUrI1nGOuZmw/viqXoO8GrH4eNQRzopJ75cdfzRGF3eo7qkRlNe5Fnt2mrPhqmIzGf4NJiI6UY48N9elmTZYJYqMkBQkXHc9mMG2EVY43b1QzqsyoPRH9A5RO4NUwegB9ljVzAKv4Kt7TZM77cbs2aj0f5U9etXC6HqBEz1TXiqFf55x0wlMa7Kwy8RJq04DZeLNz1/aHQVdzyjmp7gIWa4/7H1IykSgxiQKqmXIG69j5ohw0KkQ/tRetgOP/iPXNKxKpDloxVCJo+wewK4fL+TprAHx34XKVhPxIHSDPr2oilSHfreeV5+ZlSGHzU2HnfOT08sO4y0LZVFJSk4otndV2kaKmgk7ZWcXFHzJFgeeHpGjfcEtxspDvZLGr8XoYoumfGgYCX3loboCsJF5I+a3mXh1f8UKUodhcURxHoZILEAZh6MTq2M1WHFw+sOfaKVYe7k0jNhuw3ChlGOz8RTXj7sHyzQz9EOkrylPn5gmoUwzQ8Vas7QJ8X1XZKtGILuEQaCQPsQvW4bqR/ED4iL9h1h4qs041gcfQZHEUSYuGi7bElTgwqDelYL/koKH7Xv1/9ELisKZy6weuIfadoerbQfnyKYSbywfebvCem5JbZStbZj0NPbI2FIMvONBCICCfeBeGFf8rNq/QRl2m4fB/F8HY+9tonx3I1s2ZP39aMlMaaFGEa9iINWUt92xiWJ4oYb+IwIOZkZ5SL4nkTfvpWlb0MUP5S6mFrTAyDWYEzaUoJJuInLemLfprvjRj8ZmtDEyOCZtLpdZqdGgRSICzGjGpaW8GBRAt2oA0ZG2ru3egmneSDCg/OIiejdjeBdG0ByAm7ZeKmCWy8MdKxrlkemdvl75Co1MypcZqzs0Ezw8FjoWh5r0sYHJ6rEUk+yoIAToW/sAJtKnu5Va/+qhT7czgq9Rhl2HAmkE/AMICzTkvYnxNlvIItG1EQfvJhbZw8oI5me8zUGfCgARqKDYk4crjdTDTO8Vzc/Nv7NHxfjf/aGStYcfwL57aKFSPA/OVc+q9uV1/EvmDx02ZRmAv6LlykQUGS8zFoUQzMSmIkBUlVHvIKBgfpWUG2UNHl/6thY9YYTPZwbKYGzL4YcsTBz6a7KSA7LOs54QSNTPH4+0hO+qfzq6sMGsb4/A5gbPS85WCVuCA9LSs/rGYUIy0lxRFMLi1xYnyG5R/hZJRcQIbs7vw9WgDRMdJ17eIkB70/Th2OarjxCwG5CeNTgSml5TK61/jgnxCF+/e8xHO9uSsCkYIms1XryFkjF43OR3oN+46WWvhAoGhZFS/S2xVWmxf52yxNEhjuOa+4imPmUvjloNcUWTE1vHGYYx4oQDw3j3TmohbO193fl7s0faojCO28xudM/Ws0GU78k8ZI/JcMgazRBEOHxg0xYiu86BYmU6isb5B2OaJy1mGUGWLRHX/FLxyrlCsv2Ha4p4AGX1o5jHMnqmzwMPw/D4EBZfLQiX2+QC7Qa9qs7QLI8yaB6UQsw1jz20qwaqtJ3dezIktU9HgkCDjElsCZWxk6SFL6gdrvK2cxS641K9LQ1dWmYcvqWzT6Lfs2k2zqBDTndU4Mp/4HTWgXxHCSrA/7RxRONjGyzj2/kALP1gKhsijw4IjzoDYSY0cQMyJoavMr5SGZCJAOb2X+WsuaZQ5TCC4BTAKR1ENutu3gycNbnJYuP90wiUcDQqcz+Sl2/A0uIHBrBWR4HVlR8dWVPGurGFwFgCG5NLv9e0xndkPh6+raEDCenxTfMRuNMl020aJZKUD7l3Qa/g2JGRwYhvOrk/OvXYCTdcWhSlN+mx5ywGyrl8SZkPmUbIPecJv1asTapDCOLm4/6zE7DNVX8De4YUrGZEAXWZ8+KjBTpJEV8qdoNRCCzACPD2t2Teii44AZ+xmirejQ6ae8MA27Iq5jqF3VbrMgriQRpwxmaw5a1/mFZrRndn+GiT2Xrx4jfpjs2tgbBBFJcEm1pg3Jp4T/2Iidrk3JXGoCqWb1DbaSuhiJAZ1BqBMjTCGIg+sQaWPiAVEb6k03JKzkFef4leuP5rRP6yUGDEByeIxuomafotGbwlpwxVcr3n2DTjuR/+Bj62ndk1SQzq3PKy/MZmhV7ahUNhdtUl7sklyNFv3nM3fO7qRygM6B6Q2Vwfp21PxiKHRDoDrfNi0cK7eGo+/C7va89cLUyqaVmHsc+Y5hQ6M7Nm2KbghYxi/e4povjoQ4k7DHIpCfjLHtbcZzM0s7nZ9lmM0ZhHxPndc5UEjfewvOqg1MIaQotUYNviYdjPOQSI2wSxDG7EPKVD0duHlwb1ckGD8hzjYgxw/BDEOdvHcTlE0Km+k98+2oBgaEI7Pa0aQKQZe0G6CEgFpJty+oYQTOkKUlpCNC2KSmwfSVqEZj7go4PDuwoVexwj6fOCakeDgMsdjIrbiWAGCwxGEJoY2zBzW169gvTY1fhO5xyatzwPlVpH0UJ1wH/HnIItfT074A3vo2fO6AD4jGWagEdnRxK5k5Q1cWjQKw2m83r1RdBPRePgBI1Fj/aeYnROBqCtRQa822HQ/BzlT2uCgTk3jYO6SazFmRvIVKWdQa6spsYMjTvg2jxhQe8GL5+cglaw6+r6wz/QMjfodc117Vj5C8cV/Y3xqVeQWgkafeCkxjo/f1F2GBNAE2tJPEHNpvSiPgSqRZ77kZkqksUhCwD8U1lXByDfE2jtGRHu2ZPMkxUVNyHmggbAnMXai91AkANhtDA6XS2V24v/sBG5mo/VXuvK1HAY14GepasKtkAcW5bNlO0xMpFSSuzutKtfmGEi00hcYqhtEu9sXuQLQ3tUPDxCHEjcGj2tC3sZObTjdQANaxUaNE8wxRWufARbBeBpgsl0+h4yo7VjlecJ30L47sLL/k4d9SnIAY2lXKqXwaRo3B8MKeBcLfZpo1Y7b5Jy8zlAq8uLV1WTUglNIdu7bBjQubotrNXZUzyqC1yxEB3BS+6jLFJoxkY/gSMGC1K0hCOExVdGOSyAshJ4M8scpk/IWcugf7ybrm31s35EEyvhV/m4FGLf3hW85svfLhiyIfh2oU4IiLxL2LtKMZA6Lx6/x+K/ZpBrKidZbxHMHRsXvpLsjSYydM2vMGlc5+YpBNlLWD17FBp6oQbKcKsCzelmqVWpS4OZMQ8KMxbtW3A0m5D/Ey1qgvEBVGHsd4NYYqoWpf9uwKeMTTfV73L7L6op4qvd787KoNQA6A4iD0UUSD878SlTM3zZRQprCGsyjK/8xTpu2ElgQyBkRI5rzEL3LA2rZ5U8sOusEDf43PLQHUU9c6xjVGE0GSSXsLQ0sxtxaMdTReiRh5lSkN9EJX544R6JoV55Y1+zuNGg+02JuZVCf/EQS75UFR7KCy56Lg6Rr9k41RX5JQuXXx/zjZ9i+6BBKDrPibe2mH4Sze1S3OQatJbp8oUuEWMUV5plv+V+zUW9zqIqeNMOZcSI1bmMBd1/48XAJRA5tsn1DB3QcPhqTo26RzIR+OMkk+OUMMFmAGtcb0dRixxHZqanBcED5kk8unny+k0qSdaAEaZ1VuOUsCH8zg1mSx9Ho3YajUYpMRc/nDxqsuyhzCYuCbnlQDErQhallGNknuSQdpHckXuqyqzW/hYI7Mh3w6fNku4FseYbOiIw+952qh305RdduSKpyJ44x2yTXGuRITieUxETBN7eCyduMXlQ9xPmIOBaYpOpH07nups6uR4txZ3TUapu8vaAFQ0W5lNLR+q4neMmmwgtrCr22UCio2GdBBwq55G9wtfa+epgppuy7iK6ALhVPsgAhh+J/uRCbiBSPTo4kz414qyDWRPyF7rJ8v8qV9jW3B7fU1MrGrHoMTRng0488+Na6/q0Lcw4AZ1cvRgu4f/4aAIkpf/PtNeVmX+IXRBrsIRdJ0xI1hoZ8IP+kBFvCt/BD333rsay2DAaZUWGqFghiIhsRVvvStPoKBRpH1xx9irJFPhq8/yCns+BUT1ptllsoi53JbJ2yegSGPoB0R0Tpk1H4+M730j4I2gtZJr0sqcRZP39R+UOGXUre5HnLTiZt6oXYP/YQYXVEPM3Q1iAfsUhHEXHSJBEb7HJl1DisUa/8BmmcbuIKAdr5g6K1B3iZdFI85jVeBj5p9QhiHNkkXRWEUfCsUuJ4e/tlNwfIc3V0joqVsEXZLBaU0VoLIG9ikhOWJRayODY4jOI0388WZ1aFtwZ9xZ1PiuXisH+r3SaW10+36GHfa7Re+E1ebvesloq1R9vDAX/+1lg3PgRN6mm2mrn3Qx28r/Eac+q/7ygY0uzJlwnK8FnGglpisMi3uKZQ4ZEc9yK6hXgtmLKsUrHSZ0njicwxQzo73BjQiDsNq5a8RYer9gkbycDv9xAUJkPs10SHka0hnh3ZzUPwSem01L+kNH3pi39bThjld0/vs2Z+pJFUFAE/oX3HvOCaREAYV5W+RIKRMe+AADIJormuWDK24RSEqSk8bhZgk7T1EhIQjiwFqNNM/73epc6V3/fKdy9eLDdxowKrq/slH6SkHU10wDHAnL9phTK44EAURmgzetz7NuvH82b+3GnSbITu9QGUaSkf8y4kVO7vFw22gVDlrZ4ViJcqbK9a4g1v9pz1MmfyiXxxmrBVW/E82PFxYDZ0PYmgX/kn5ZIKQ3VvtNKGaScaJqHbRt0lhfeVHlBzZTgiW5wmhvKU4izEnBdXFWWJOdWb5TFWsxT/8zNXsoiWEbecw8lCCm8kO6b7OegD5fMjrXlhMWSXKlO98jNh3EobUjMwDSgLrs6H3uev4tugnvSz2qRhYL6HYnbqXrfi5tv2zCN9cAcTZ7PrV0CTCRgvebcQr9ByubYm7wzACDvmfaisRJYJjJrCfeUX04Nc5mA+VzZseTJZGMUFB+4EQNc2DE49QLTOLE5CHbYeyb6IxFlkzdQ0cb/yjXf0GvEUSHrNXu45XTCEtG4k+ALv8UxyNHwZq3ss4ABxpEE3vFEBN7yxl9yofqkBkgGtMtzYI7rPRUP763D2ActLKiygU2HIOCzN5m9SEq1dFtQN9R0AFbB10b/29iM0LuwjefOVRE6xybUs9yaF1uxBeyzzJeRLcDFLfLKbmIEEMm00vhUQkSRkNX1E4jEX/TpUHA2Ze1Zhkll/LWUP5eK+hDN75gtGjA3oQcUcDyw61wnm46eXHAURNiEL7P+15P7UzGPyfDiKk/WEQeV64PYFrMHROa3NiyUuM6i9ZrVeQFIj6UhHVWFRPtuSnjO7GWo6hmQJW8nvMmk/lDPLEUdTLxtSe0BR+YPpt5uu8QDqw8jwIjv8LqhQfJqOXn5MV3uHlOyI4cKzYwYAKz5GtSDKNY5+6gVGx/EQYr9/MtT5oat0lfB+GG3ZdNoN2ryzWe6dtNYN76Oh2H5KgcoJA/QsdTOgrsB2zty8TlmiQ4AtrgQk7UynmF30ibb5GbPTFZwm8eRI6qmAIWCZiXJaHhuFIgsrLbAPYZsrtogyG1EeDlG2dtzIE+iolVPYoyQ9XGgyVXrRVFQ96qDmXsXDrxp6K1G5yUmO809X1astMhOkTasAb6pgQsrdxS3bHuGGQ8NpC2qNuuwezfpcMb9qM3MrrFLo7dkKgePg8gQlHxkf2k15zQ58iWr5mvHj8X3K5xgkTVDbfRkKUt47Lld77lIE56W1gPe0y3szJSwJL3SMZposVa+NW97WlgIV/4juNUBDfuUTSXnlesKY9Gco3iGQ+En1S49n9vCL0Bbpm4TGvSjdmIY6EsOV3ZT6yzGRj3/aRmKTPRbKLdujqjUpFSBn+FPMEtYDqBwqo0QCC9roWi0mujNKD8p67Hc0N9LimwGakL3UsedNiZjTzRG0gWYMd6TQ7VQit3iIdLbj9H58gMCikWtWX3NDA6INN31bJLI1Ig46k1qglz72X63G6RgKMlZzU773vLgyJOskAfK18ro7bLCAh3bz0GyT4RQwjIKWsEF52sIA0QLQwOh8/li18iuse3TSh8=" title="Mekko Graphics Chart">
            <a:extLst>
              <a:ext uri="{FF2B5EF4-FFF2-40B4-BE49-F238E27FC236}">
                <a16:creationId xmlns:a16="http://schemas.microsoft.com/office/drawing/2014/main" id="{8F6ADEF4-C7AA-4D95-890E-BA7A4E4FE309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29771" y="1262313"/>
            <a:ext cx="7815385" cy="4947139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btfpIconLines155624">
            <a:extLst>
              <a:ext uri="{FF2B5EF4-FFF2-40B4-BE49-F238E27FC236}">
                <a16:creationId xmlns:a16="http://schemas.microsoft.com/office/drawing/2014/main" id="{4D583247-56D4-47E3-B406-4557B05DB13B}"/>
              </a:ext>
            </a:extLst>
          </p:cNvPr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4963" y="1262313"/>
            <a:ext cx="391380" cy="391380"/>
          </a:xfrm>
          <a:prstGeom prst="rect">
            <a:avLst/>
          </a:prstGeom>
        </p:spPr>
      </p:pic>
      <p:graphicFrame>
        <p:nvGraphicFramePr>
          <p:cNvPr id="27" name="btfpTable918629">
            <a:extLst>
              <a:ext uri="{FF2B5EF4-FFF2-40B4-BE49-F238E27FC236}">
                <a16:creationId xmlns:a16="http://schemas.microsoft.com/office/drawing/2014/main" id="{0F43A30D-F12B-4292-BDC6-CD0B8E12D6FF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8346831" y="1283881"/>
          <a:ext cx="3510207" cy="4030443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52068">
                  <a:extLst>
                    <a:ext uri="{9D8B030D-6E8A-4147-A177-3AD203B41FA5}">
                      <a16:colId xmlns:a16="http://schemas.microsoft.com/office/drawing/2014/main" val="3437401870"/>
                    </a:ext>
                  </a:extLst>
                </a:gridCol>
                <a:gridCol w="658887">
                  <a:extLst>
                    <a:ext uri="{9D8B030D-6E8A-4147-A177-3AD203B41FA5}">
                      <a16:colId xmlns:a16="http://schemas.microsoft.com/office/drawing/2014/main" val="2323998410"/>
                    </a:ext>
                  </a:extLst>
                </a:gridCol>
                <a:gridCol w="669427">
                  <a:extLst>
                    <a:ext uri="{9D8B030D-6E8A-4147-A177-3AD203B41FA5}">
                      <a16:colId xmlns:a16="http://schemas.microsoft.com/office/drawing/2014/main" val="3097408861"/>
                    </a:ext>
                  </a:extLst>
                </a:gridCol>
                <a:gridCol w="729825">
                  <a:extLst>
                    <a:ext uri="{9D8B030D-6E8A-4147-A177-3AD203B41FA5}">
                      <a16:colId xmlns:a16="http://schemas.microsoft.com/office/drawing/2014/main" val="3245611016"/>
                    </a:ext>
                  </a:extLst>
                </a:gridCol>
              </a:tblGrid>
              <a:tr h="625413"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buFontTx/>
                        <a:buNone/>
                      </a:pPr>
                      <a:endParaRPr lang="en-US" sz="1050">
                        <a:latin typeface="+mj-lt"/>
                      </a:endParaRPr>
                    </a:p>
                  </a:txBody>
                  <a:tcPr marL="18090" marR="1809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spcBef>
                          <a:spcPts val="600"/>
                        </a:spcBef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Avg. </a:t>
                      </a:r>
                    </a:p>
                    <a:p>
                      <a:pPr marL="0" indent="0" algn="ctr" fontAlgn="b">
                        <a:spcBef>
                          <a:spcPts val="600"/>
                        </a:spcBef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2019-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spcBef>
                          <a:spcPts val="600"/>
                        </a:spcBef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Avg. </a:t>
                      </a:r>
                    </a:p>
                    <a:p>
                      <a:pPr marL="0" indent="0" algn="ctr" fontAlgn="b">
                        <a:spcBef>
                          <a:spcPts val="600"/>
                        </a:spcBef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2022-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1000" b="1" kern="1200">
                          <a:solidFill>
                            <a:schemeClr val="accent3"/>
                          </a:solidFill>
                          <a:latin typeface="+mj-lt"/>
                          <a:ea typeface="+mn-ea"/>
                          <a:cs typeface="+mn-cs"/>
                        </a:rPr>
                        <a:t>Pts. change in avg. rating</a:t>
                      </a:r>
                    </a:p>
                  </a:txBody>
                  <a:tcPr marL="18090" marR="18090" anchor="ctr"/>
                </a:tc>
                <a:extLst>
                  <a:ext uri="{0D108BD9-81ED-4DB2-BD59-A6C34878D82A}">
                    <a16:rowId xmlns:a16="http://schemas.microsoft.com/office/drawing/2014/main" val="2373840073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0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21451193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8240898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52767664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85052071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1121749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1187563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93088008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36729398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82510520"/>
                  </a:ext>
                </a:extLst>
              </a:tr>
              <a:tr h="340503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72430312"/>
                  </a:ext>
                </a:extLst>
              </a:tr>
            </a:tbl>
          </a:graphicData>
        </a:graphic>
      </p:graphicFrame>
      <p:grpSp>
        <p:nvGrpSpPr>
          <p:cNvPr id="17" name="btfpColumnHeaderBox618669">
            <a:extLst>
              <a:ext uri="{FF2B5EF4-FFF2-40B4-BE49-F238E27FC236}">
                <a16:creationId xmlns:a16="http://schemas.microsoft.com/office/drawing/2014/main" id="{5622AA0E-3EF2-FD95-A3E5-2078D1EB51E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0200" y="3715518"/>
            <a:ext cx="7822703" cy="245137"/>
            <a:chOff x="330200" y="1343860"/>
            <a:chExt cx="11531600" cy="245137"/>
          </a:xfrm>
        </p:grpSpPr>
        <p:sp>
          <p:nvSpPr>
            <p:cNvPr id="13" name="btfpColumnHeaderBoxText618669">
              <a:extLst>
                <a:ext uri="{FF2B5EF4-FFF2-40B4-BE49-F238E27FC236}">
                  <a16:creationId xmlns:a16="http://schemas.microsoft.com/office/drawing/2014/main" id="{94FBEED2-85DE-B29F-7CA3-8FE7C7E57B91}"/>
                </a:ext>
              </a:extLst>
            </p:cNvPr>
            <p:cNvSpPr txBox="1"/>
            <p:nvPr/>
          </p:nvSpPr>
          <p:spPr bwMode="gray">
            <a:xfrm>
              <a:off x="330200" y="1343860"/>
              <a:ext cx="11531600" cy="23209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umber of ratings</a:t>
              </a:r>
            </a:p>
          </p:txBody>
        </p:sp>
        <p:cxnSp>
          <p:nvCxnSpPr>
            <p:cNvPr id="14" name="btfpColumnHeaderBoxLine618669">
              <a:extLst>
                <a:ext uri="{FF2B5EF4-FFF2-40B4-BE49-F238E27FC236}">
                  <a16:creationId xmlns:a16="http://schemas.microsoft.com/office/drawing/2014/main" id="{D4F8B340-C761-DFBE-F13A-A14EDD1E1240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btfpRunningAgenda1Level238016">
            <a:extLst>
              <a:ext uri="{FF2B5EF4-FFF2-40B4-BE49-F238E27FC236}">
                <a16:creationId xmlns:a16="http://schemas.microsoft.com/office/drawing/2014/main" id="{241B80A5-728F-8E4E-B764-4F4EA569B2C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3650258" cy="257442"/>
            <a:chOff x="0" y="876300"/>
            <a:chExt cx="3650258" cy="257442"/>
          </a:xfrm>
        </p:grpSpPr>
        <p:sp>
          <p:nvSpPr>
            <p:cNvPr id="29" name="btfpRunningAgenda1LevelBarLeft238016">
              <a:extLst>
                <a:ext uri="{FF2B5EF4-FFF2-40B4-BE49-F238E27FC236}">
                  <a16:creationId xmlns:a16="http://schemas.microsoft.com/office/drawing/2014/main" id="{5F9A47C8-4B63-5CDC-9DFD-915D8FB4DE6D}"/>
                </a:ext>
              </a:extLst>
            </p:cNvPr>
            <p:cNvSpPr/>
            <p:nvPr/>
          </p:nvSpPr>
          <p:spPr bwMode="gray">
            <a:xfrm>
              <a:off x="0" y="876300"/>
              <a:ext cx="3650258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532691 w 1532691"/>
                <a:gd name="connsiteY0" fmla="*/ 0 h 257442"/>
                <a:gd name="connsiteX1" fmla="*/ 1224695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718639 w 1718639"/>
                <a:gd name="connsiteY0" fmla="*/ 0 h 257442"/>
                <a:gd name="connsiteX1" fmla="*/ 1477970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878939 w 1878939"/>
                <a:gd name="connsiteY0" fmla="*/ 0 h 257442"/>
                <a:gd name="connsiteX1" fmla="*/ 16639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718639 w 1824218"/>
                <a:gd name="connsiteY0" fmla="*/ 0 h 257442"/>
                <a:gd name="connsiteX1" fmla="*/ 1824218 w 1824218"/>
                <a:gd name="connsiteY1" fmla="*/ 257442 h 257442"/>
                <a:gd name="connsiteX2" fmla="*/ 0 w 1824218"/>
                <a:gd name="connsiteY2" fmla="*/ 257442 h 257442"/>
                <a:gd name="connsiteX3" fmla="*/ 0 w 1824218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1 w 1718639"/>
                <a:gd name="connsiteY2" fmla="*/ 257442 h 257442"/>
                <a:gd name="connsiteX3" fmla="*/ 0 w 1718639"/>
                <a:gd name="connsiteY3" fmla="*/ 0 h 257442"/>
                <a:gd name="connsiteX0" fmla="*/ 1718638 w 1718638"/>
                <a:gd name="connsiteY0" fmla="*/ 0 h 257442"/>
                <a:gd name="connsiteX1" fmla="*/ 1663917 w 1718638"/>
                <a:gd name="connsiteY1" fmla="*/ 257442 h 257442"/>
                <a:gd name="connsiteX2" fmla="*/ 0 w 1718638"/>
                <a:gd name="connsiteY2" fmla="*/ 257442 h 257442"/>
                <a:gd name="connsiteX3" fmla="*/ 0 w 1718638"/>
                <a:gd name="connsiteY3" fmla="*/ 0 h 257442"/>
                <a:gd name="connsiteX0" fmla="*/ 1532690 w 1663917"/>
                <a:gd name="connsiteY0" fmla="*/ 0 h 257442"/>
                <a:gd name="connsiteX1" fmla="*/ 1663917 w 1663917"/>
                <a:gd name="connsiteY1" fmla="*/ 257442 h 257442"/>
                <a:gd name="connsiteX2" fmla="*/ 0 w 1663917"/>
                <a:gd name="connsiteY2" fmla="*/ 257442 h 257442"/>
                <a:gd name="connsiteX3" fmla="*/ 0 w 1663917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431702 w 1477970"/>
                <a:gd name="connsiteY0" fmla="*/ 0 h 257442"/>
                <a:gd name="connsiteX1" fmla="*/ 1477970 w 1477970"/>
                <a:gd name="connsiteY1" fmla="*/ 257442 h 257442"/>
                <a:gd name="connsiteX2" fmla="*/ 0 w 1477970"/>
                <a:gd name="connsiteY2" fmla="*/ 257442 h 257442"/>
                <a:gd name="connsiteX3" fmla="*/ 0 w 1477970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718639 w 1718639"/>
                <a:gd name="connsiteY0" fmla="*/ 0 h 257442"/>
                <a:gd name="connsiteX1" fmla="*/ 1376981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878939 w 1878939"/>
                <a:gd name="connsiteY0" fmla="*/ 0 h 257442"/>
                <a:gd name="connsiteX1" fmla="*/ 16639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878939 w 1878939"/>
                <a:gd name="connsiteY0" fmla="*/ 0 h 257442"/>
                <a:gd name="connsiteX1" fmla="*/ 1824218 w 1878939"/>
                <a:gd name="connsiteY1" fmla="*/ 257442 h 257442"/>
                <a:gd name="connsiteX2" fmla="*/ 0 w 1878939"/>
                <a:gd name="connsiteY2" fmla="*/ 257442 h 257442"/>
                <a:gd name="connsiteX3" fmla="*/ 0 w 1878939"/>
                <a:gd name="connsiteY3" fmla="*/ 0 h 257442"/>
                <a:gd name="connsiteX0" fmla="*/ 1718639 w 1824218"/>
                <a:gd name="connsiteY0" fmla="*/ 0 h 257442"/>
                <a:gd name="connsiteX1" fmla="*/ 1824218 w 1824218"/>
                <a:gd name="connsiteY1" fmla="*/ 257442 h 257442"/>
                <a:gd name="connsiteX2" fmla="*/ 0 w 1824218"/>
                <a:gd name="connsiteY2" fmla="*/ 257442 h 257442"/>
                <a:gd name="connsiteX3" fmla="*/ 0 w 1824218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0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1 w 1718639"/>
                <a:gd name="connsiteY2" fmla="*/ 257442 h 257442"/>
                <a:gd name="connsiteX3" fmla="*/ 0 w 1718639"/>
                <a:gd name="connsiteY3" fmla="*/ 0 h 257442"/>
                <a:gd name="connsiteX0" fmla="*/ 1718638 w 1718638"/>
                <a:gd name="connsiteY0" fmla="*/ 0 h 257442"/>
                <a:gd name="connsiteX1" fmla="*/ 1663917 w 1718638"/>
                <a:gd name="connsiteY1" fmla="*/ 257442 h 257442"/>
                <a:gd name="connsiteX2" fmla="*/ 0 w 1718638"/>
                <a:gd name="connsiteY2" fmla="*/ 257442 h 257442"/>
                <a:gd name="connsiteX3" fmla="*/ 0 w 1718638"/>
                <a:gd name="connsiteY3" fmla="*/ 0 h 257442"/>
                <a:gd name="connsiteX0" fmla="*/ 1532690 w 1663917"/>
                <a:gd name="connsiteY0" fmla="*/ 0 h 257442"/>
                <a:gd name="connsiteX1" fmla="*/ 1663917 w 1663917"/>
                <a:gd name="connsiteY1" fmla="*/ 257442 h 257442"/>
                <a:gd name="connsiteX2" fmla="*/ 0 w 1663917"/>
                <a:gd name="connsiteY2" fmla="*/ 257442 h 257442"/>
                <a:gd name="connsiteX3" fmla="*/ 0 w 1663917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70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431702 w 1477970"/>
                <a:gd name="connsiteY0" fmla="*/ 0 h 257442"/>
                <a:gd name="connsiteX1" fmla="*/ 1477970 w 1477970"/>
                <a:gd name="connsiteY1" fmla="*/ 257442 h 257442"/>
                <a:gd name="connsiteX2" fmla="*/ 0 w 1477970"/>
                <a:gd name="connsiteY2" fmla="*/ 257442 h 257442"/>
                <a:gd name="connsiteX3" fmla="*/ 0 w 1477970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279416 w 1376981"/>
                <a:gd name="connsiteY0" fmla="*/ 0 h 257442"/>
                <a:gd name="connsiteX1" fmla="*/ 1376981 w 1376981"/>
                <a:gd name="connsiteY1" fmla="*/ 257442 h 257442"/>
                <a:gd name="connsiteX2" fmla="*/ 0 w 1376981"/>
                <a:gd name="connsiteY2" fmla="*/ 257442 h 257442"/>
                <a:gd name="connsiteX3" fmla="*/ 0 w 1376981"/>
                <a:gd name="connsiteY3" fmla="*/ 0 h 257442"/>
                <a:gd name="connsiteX0" fmla="*/ 1279416 w 1279416"/>
                <a:gd name="connsiteY0" fmla="*/ 0 h 257442"/>
                <a:gd name="connsiteX1" fmla="*/ 1224696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6 w 1279416"/>
                <a:gd name="connsiteY1" fmla="*/ 257442 h 257442"/>
                <a:gd name="connsiteX2" fmla="*/ 1 w 1279416"/>
                <a:gd name="connsiteY2" fmla="*/ 257442 h 257442"/>
                <a:gd name="connsiteX3" fmla="*/ 0 w 1279416"/>
                <a:gd name="connsiteY3" fmla="*/ 0 h 257442"/>
                <a:gd name="connsiteX0" fmla="*/ 1279415 w 1279415"/>
                <a:gd name="connsiteY0" fmla="*/ 0 h 257442"/>
                <a:gd name="connsiteX1" fmla="*/ 1224695 w 1279415"/>
                <a:gd name="connsiteY1" fmla="*/ 257442 h 257442"/>
                <a:gd name="connsiteX2" fmla="*/ 0 w 1279415"/>
                <a:gd name="connsiteY2" fmla="*/ 257442 h 257442"/>
                <a:gd name="connsiteX3" fmla="*/ 0 w 1279415"/>
                <a:gd name="connsiteY3" fmla="*/ 0 h 257442"/>
                <a:gd name="connsiteX0" fmla="*/ 1119116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0 w 122469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950801 w 1064395"/>
                <a:gd name="connsiteY0" fmla="*/ 0 h 257442"/>
                <a:gd name="connsiteX1" fmla="*/ 1064395 w 1064395"/>
                <a:gd name="connsiteY1" fmla="*/ 257442 h 257442"/>
                <a:gd name="connsiteX2" fmla="*/ 0 w 1064395"/>
                <a:gd name="connsiteY2" fmla="*/ 257442 h 257442"/>
                <a:gd name="connsiteX3" fmla="*/ 0 w 106439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28733 w 1128733"/>
                <a:gd name="connsiteY0" fmla="*/ 0 h 257442"/>
                <a:gd name="connsiteX1" fmla="*/ 896080 w 1128733"/>
                <a:gd name="connsiteY1" fmla="*/ 257442 h 257442"/>
                <a:gd name="connsiteX2" fmla="*/ 0 w 1128733"/>
                <a:gd name="connsiteY2" fmla="*/ 257442 h 257442"/>
                <a:gd name="connsiteX3" fmla="*/ 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401518 w 2401518"/>
                <a:gd name="connsiteY0" fmla="*/ 0 h 257442"/>
                <a:gd name="connsiteX1" fmla="*/ 2085508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561819 w 2561819"/>
                <a:gd name="connsiteY0" fmla="*/ 0 h 257442"/>
                <a:gd name="connsiteX1" fmla="*/ 2346797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983410 w 2983410"/>
                <a:gd name="connsiteY0" fmla="*/ 0 h 257442"/>
                <a:gd name="connsiteX1" fmla="*/ 2675413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1 w 2983410"/>
                <a:gd name="connsiteY3" fmla="*/ 0 h 257442"/>
                <a:gd name="connsiteX0" fmla="*/ 2983410 w 2983410"/>
                <a:gd name="connsiteY0" fmla="*/ 0 h 257442"/>
                <a:gd name="connsiteX1" fmla="*/ 2928688 w 2983410"/>
                <a:gd name="connsiteY1" fmla="*/ 257442 h 257442"/>
                <a:gd name="connsiteX2" fmla="*/ 0 w 2983410"/>
                <a:gd name="connsiteY2" fmla="*/ 257442 h 257442"/>
                <a:gd name="connsiteX3" fmla="*/ 0 w 2983410"/>
                <a:gd name="connsiteY3" fmla="*/ 0 h 257442"/>
                <a:gd name="connsiteX0" fmla="*/ 3169357 w 3169357"/>
                <a:gd name="connsiteY0" fmla="*/ 0 h 257442"/>
                <a:gd name="connsiteX1" fmla="*/ 2928688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329658 w 3329658"/>
                <a:gd name="connsiteY0" fmla="*/ 0 h 257442"/>
                <a:gd name="connsiteX1" fmla="*/ 31146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8 w 3329658"/>
                <a:gd name="connsiteY0" fmla="*/ 0 h 257442"/>
                <a:gd name="connsiteX1" fmla="*/ 32749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497973 w 3497973"/>
                <a:gd name="connsiteY0" fmla="*/ 0 h 257442"/>
                <a:gd name="connsiteX1" fmla="*/ 3274937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2 w 3497972"/>
                <a:gd name="connsiteY0" fmla="*/ 0 h 257442"/>
                <a:gd name="connsiteX1" fmla="*/ 3443251 w 3497972"/>
                <a:gd name="connsiteY1" fmla="*/ 257442 h 257442"/>
                <a:gd name="connsiteX2" fmla="*/ 0 w 3497972"/>
                <a:gd name="connsiteY2" fmla="*/ 257442 h 257442"/>
                <a:gd name="connsiteX3" fmla="*/ 0 w 3497972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1 w 3497973"/>
                <a:gd name="connsiteY2" fmla="*/ 257442 h 257442"/>
                <a:gd name="connsiteX3" fmla="*/ 0 w 3497973"/>
                <a:gd name="connsiteY3" fmla="*/ 0 h 257442"/>
                <a:gd name="connsiteX0" fmla="*/ 3321643 w 3443252"/>
                <a:gd name="connsiteY0" fmla="*/ 0 h 257442"/>
                <a:gd name="connsiteX1" fmla="*/ 3443252 w 3443252"/>
                <a:gd name="connsiteY1" fmla="*/ 257442 h 257442"/>
                <a:gd name="connsiteX2" fmla="*/ 1 w 3443252"/>
                <a:gd name="connsiteY2" fmla="*/ 257442 h 257442"/>
                <a:gd name="connsiteX3" fmla="*/ 0 w 3443252"/>
                <a:gd name="connsiteY3" fmla="*/ 0 h 257442"/>
                <a:gd name="connsiteX0" fmla="*/ 3321643 w 3321643"/>
                <a:gd name="connsiteY0" fmla="*/ 0 h 257442"/>
                <a:gd name="connsiteX1" fmla="*/ 3266922 w 3321643"/>
                <a:gd name="connsiteY1" fmla="*/ 257442 h 257442"/>
                <a:gd name="connsiteX2" fmla="*/ 1 w 3321643"/>
                <a:gd name="connsiteY2" fmla="*/ 257442 h 257442"/>
                <a:gd name="connsiteX3" fmla="*/ 0 w 3321643"/>
                <a:gd name="connsiteY3" fmla="*/ 0 h 257442"/>
                <a:gd name="connsiteX0" fmla="*/ 3321643 w 3321643"/>
                <a:gd name="connsiteY0" fmla="*/ 0 h 257442"/>
                <a:gd name="connsiteX1" fmla="*/ 3266922 w 3321643"/>
                <a:gd name="connsiteY1" fmla="*/ 257442 h 257442"/>
                <a:gd name="connsiteX2" fmla="*/ 2 w 3321643"/>
                <a:gd name="connsiteY2" fmla="*/ 257442 h 257442"/>
                <a:gd name="connsiteX3" fmla="*/ 0 w 3321643"/>
                <a:gd name="connsiteY3" fmla="*/ 0 h 257442"/>
                <a:gd name="connsiteX0" fmla="*/ 3321641 w 3321641"/>
                <a:gd name="connsiteY0" fmla="*/ 0 h 257442"/>
                <a:gd name="connsiteX1" fmla="*/ 3266920 w 3321641"/>
                <a:gd name="connsiteY1" fmla="*/ 257442 h 257442"/>
                <a:gd name="connsiteX2" fmla="*/ 0 w 3321641"/>
                <a:gd name="connsiteY2" fmla="*/ 257442 h 257442"/>
                <a:gd name="connsiteX3" fmla="*/ 0 w 3321641"/>
                <a:gd name="connsiteY3" fmla="*/ 0 h 257442"/>
                <a:gd name="connsiteX0" fmla="*/ 3135694 w 3266920"/>
                <a:gd name="connsiteY0" fmla="*/ 0 h 257442"/>
                <a:gd name="connsiteX1" fmla="*/ 3266920 w 3266920"/>
                <a:gd name="connsiteY1" fmla="*/ 257442 h 257442"/>
                <a:gd name="connsiteX2" fmla="*/ 0 w 3266920"/>
                <a:gd name="connsiteY2" fmla="*/ 257442 h 257442"/>
                <a:gd name="connsiteX3" fmla="*/ 0 w 3266920"/>
                <a:gd name="connsiteY3" fmla="*/ 0 h 257442"/>
                <a:gd name="connsiteX0" fmla="*/ 3135694 w 3135694"/>
                <a:gd name="connsiteY0" fmla="*/ 0 h 257442"/>
                <a:gd name="connsiteX1" fmla="*/ 3080973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4 w 3135694"/>
                <a:gd name="connsiteY0" fmla="*/ 0 h 257442"/>
                <a:gd name="connsiteX1" fmla="*/ 3080973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4 w 3135694"/>
                <a:gd name="connsiteY0" fmla="*/ 0 h 257442"/>
                <a:gd name="connsiteX1" fmla="*/ 3080973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2967379 w 3080973"/>
                <a:gd name="connsiteY0" fmla="*/ 0 h 257442"/>
                <a:gd name="connsiteX1" fmla="*/ 3080973 w 3080973"/>
                <a:gd name="connsiteY1" fmla="*/ 257442 h 257442"/>
                <a:gd name="connsiteX2" fmla="*/ 0 w 3080973"/>
                <a:gd name="connsiteY2" fmla="*/ 257442 h 257442"/>
                <a:gd name="connsiteX3" fmla="*/ 0 w 3080973"/>
                <a:gd name="connsiteY3" fmla="*/ 0 h 257442"/>
                <a:gd name="connsiteX0" fmla="*/ 2967379 w 2967379"/>
                <a:gd name="connsiteY0" fmla="*/ 0 h 257442"/>
                <a:gd name="connsiteX1" fmla="*/ 2912659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2967379 w 2967379"/>
                <a:gd name="connsiteY0" fmla="*/ 0 h 257442"/>
                <a:gd name="connsiteX1" fmla="*/ 2912659 w 2967379"/>
                <a:gd name="connsiteY1" fmla="*/ 257442 h 257442"/>
                <a:gd name="connsiteX2" fmla="*/ 1 w 2967379"/>
                <a:gd name="connsiteY2" fmla="*/ 257442 h 257442"/>
                <a:gd name="connsiteX3" fmla="*/ 0 w 2967379"/>
                <a:gd name="connsiteY3" fmla="*/ 0 h 257442"/>
                <a:gd name="connsiteX0" fmla="*/ 2967378 w 2967378"/>
                <a:gd name="connsiteY0" fmla="*/ 0 h 257442"/>
                <a:gd name="connsiteX1" fmla="*/ 2912658 w 2967378"/>
                <a:gd name="connsiteY1" fmla="*/ 257442 h 257442"/>
                <a:gd name="connsiteX2" fmla="*/ 0 w 2967378"/>
                <a:gd name="connsiteY2" fmla="*/ 257442 h 257442"/>
                <a:gd name="connsiteX3" fmla="*/ 0 w 2967378"/>
                <a:gd name="connsiteY3" fmla="*/ 0 h 257442"/>
                <a:gd name="connsiteX0" fmla="*/ 2807078 w 2912658"/>
                <a:gd name="connsiteY0" fmla="*/ 0 h 257442"/>
                <a:gd name="connsiteX1" fmla="*/ 2912658 w 2912658"/>
                <a:gd name="connsiteY1" fmla="*/ 257442 h 257442"/>
                <a:gd name="connsiteX2" fmla="*/ 0 w 2912658"/>
                <a:gd name="connsiteY2" fmla="*/ 257442 h 257442"/>
                <a:gd name="connsiteX3" fmla="*/ 0 w 2912658"/>
                <a:gd name="connsiteY3" fmla="*/ 0 h 257442"/>
                <a:gd name="connsiteX0" fmla="*/ 2807078 w 2807078"/>
                <a:gd name="connsiteY0" fmla="*/ 0 h 257442"/>
                <a:gd name="connsiteX1" fmla="*/ 2752357 w 2807078"/>
                <a:gd name="connsiteY1" fmla="*/ 257442 h 257442"/>
                <a:gd name="connsiteX2" fmla="*/ 0 w 2807078"/>
                <a:gd name="connsiteY2" fmla="*/ 257442 h 257442"/>
                <a:gd name="connsiteX3" fmla="*/ 0 w 2807078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1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1 w 2807079"/>
                <a:gd name="connsiteY3" fmla="*/ 0 h 257442"/>
                <a:gd name="connsiteX0" fmla="*/ 2638764 w 2752358"/>
                <a:gd name="connsiteY0" fmla="*/ 0 h 257442"/>
                <a:gd name="connsiteX1" fmla="*/ 2752358 w 2752358"/>
                <a:gd name="connsiteY1" fmla="*/ 257442 h 257442"/>
                <a:gd name="connsiteX2" fmla="*/ 0 w 2752358"/>
                <a:gd name="connsiteY2" fmla="*/ 257442 h 257442"/>
                <a:gd name="connsiteX3" fmla="*/ 1 w 2752358"/>
                <a:gd name="connsiteY3" fmla="*/ 0 h 257442"/>
                <a:gd name="connsiteX0" fmla="*/ 2638764 w 2638764"/>
                <a:gd name="connsiteY0" fmla="*/ 0 h 257442"/>
                <a:gd name="connsiteX1" fmla="*/ 2584043 w 2638764"/>
                <a:gd name="connsiteY1" fmla="*/ 257442 h 257442"/>
                <a:gd name="connsiteX2" fmla="*/ 0 w 2638764"/>
                <a:gd name="connsiteY2" fmla="*/ 257442 h 257442"/>
                <a:gd name="connsiteX3" fmla="*/ 1 w 2638764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460830 w 2584042"/>
                <a:gd name="connsiteY0" fmla="*/ 0 h 257442"/>
                <a:gd name="connsiteX1" fmla="*/ 2584042 w 2584042"/>
                <a:gd name="connsiteY1" fmla="*/ 257442 h 257442"/>
                <a:gd name="connsiteX2" fmla="*/ 0 w 2584042"/>
                <a:gd name="connsiteY2" fmla="*/ 257442 h 257442"/>
                <a:gd name="connsiteX3" fmla="*/ 0 w 2584042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629145 w 2629145"/>
                <a:gd name="connsiteY0" fmla="*/ 0 h 257442"/>
                <a:gd name="connsiteX1" fmla="*/ 2406109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629145 w 2629145"/>
                <a:gd name="connsiteY0" fmla="*/ 0 h 257442"/>
                <a:gd name="connsiteX1" fmla="*/ 2574424 w 2629145"/>
                <a:gd name="connsiteY1" fmla="*/ 257442 h 257442"/>
                <a:gd name="connsiteX2" fmla="*/ 0 w 2629145"/>
                <a:gd name="connsiteY2" fmla="*/ 257442 h 257442"/>
                <a:gd name="connsiteX3" fmla="*/ 0 w 2629145"/>
                <a:gd name="connsiteY3" fmla="*/ 0 h 257442"/>
                <a:gd name="connsiteX0" fmla="*/ 2789445 w 2789445"/>
                <a:gd name="connsiteY0" fmla="*/ 0 h 257442"/>
                <a:gd name="connsiteX1" fmla="*/ 25744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3116907 w 3116907"/>
                <a:gd name="connsiteY0" fmla="*/ 0 h 257442"/>
                <a:gd name="connsiteX1" fmla="*/ 2734724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277207 w 3277207"/>
                <a:gd name="connsiteY0" fmla="*/ 0 h 257442"/>
                <a:gd name="connsiteX1" fmla="*/ 3062186 w 3277207"/>
                <a:gd name="connsiteY1" fmla="*/ 257442 h 257442"/>
                <a:gd name="connsiteX2" fmla="*/ 0 w 3277207"/>
                <a:gd name="connsiteY2" fmla="*/ 257442 h 257442"/>
                <a:gd name="connsiteX3" fmla="*/ 0 w 3277207"/>
                <a:gd name="connsiteY3" fmla="*/ 0 h 257442"/>
                <a:gd name="connsiteX0" fmla="*/ 3277207 w 3277207"/>
                <a:gd name="connsiteY0" fmla="*/ 0 h 257442"/>
                <a:gd name="connsiteX1" fmla="*/ 3222486 w 3277207"/>
                <a:gd name="connsiteY1" fmla="*/ 257442 h 257442"/>
                <a:gd name="connsiteX2" fmla="*/ 0 w 3277207"/>
                <a:gd name="connsiteY2" fmla="*/ 257442 h 257442"/>
                <a:gd name="connsiteX3" fmla="*/ 0 w 3277207"/>
                <a:gd name="connsiteY3" fmla="*/ 0 h 257442"/>
                <a:gd name="connsiteX0" fmla="*/ 3277207 w 3277207"/>
                <a:gd name="connsiteY0" fmla="*/ 0 h 257442"/>
                <a:gd name="connsiteX1" fmla="*/ 3222486 w 3277207"/>
                <a:gd name="connsiteY1" fmla="*/ 257442 h 257442"/>
                <a:gd name="connsiteX2" fmla="*/ 0 w 3277207"/>
                <a:gd name="connsiteY2" fmla="*/ 257442 h 257442"/>
                <a:gd name="connsiteX3" fmla="*/ 0 w 3277207"/>
                <a:gd name="connsiteY3" fmla="*/ 0 h 257442"/>
                <a:gd name="connsiteX0" fmla="*/ 3277207 w 3277207"/>
                <a:gd name="connsiteY0" fmla="*/ 0 h 257442"/>
                <a:gd name="connsiteX1" fmla="*/ 3222486 w 3277207"/>
                <a:gd name="connsiteY1" fmla="*/ 257442 h 257442"/>
                <a:gd name="connsiteX2" fmla="*/ 0 w 3277207"/>
                <a:gd name="connsiteY2" fmla="*/ 257442 h 257442"/>
                <a:gd name="connsiteX3" fmla="*/ 0 w 3277207"/>
                <a:gd name="connsiteY3" fmla="*/ 0 h 257442"/>
                <a:gd name="connsiteX0" fmla="*/ 3116907 w 3222486"/>
                <a:gd name="connsiteY0" fmla="*/ 0 h 257442"/>
                <a:gd name="connsiteX1" fmla="*/ 3222486 w 3222486"/>
                <a:gd name="connsiteY1" fmla="*/ 257442 h 257442"/>
                <a:gd name="connsiteX2" fmla="*/ 0 w 3222486"/>
                <a:gd name="connsiteY2" fmla="*/ 257442 h 257442"/>
                <a:gd name="connsiteX3" fmla="*/ 0 w 3222486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1 w 3116907"/>
                <a:gd name="connsiteY2" fmla="*/ 257442 h 257442"/>
                <a:gd name="connsiteX3" fmla="*/ 0 w 3116907"/>
                <a:gd name="connsiteY3" fmla="*/ 0 h 257442"/>
                <a:gd name="connsiteX0" fmla="*/ 3116906 w 3116906"/>
                <a:gd name="connsiteY0" fmla="*/ 0 h 257442"/>
                <a:gd name="connsiteX1" fmla="*/ 3062185 w 3116906"/>
                <a:gd name="connsiteY1" fmla="*/ 257442 h 257442"/>
                <a:gd name="connsiteX2" fmla="*/ 0 w 3116906"/>
                <a:gd name="connsiteY2" fmla="*/ 257442 h 257442"/>
                <a:gd name="connsiteX3" fmla="*/ 0 w 3116906"/>
                <a:gd name="connsiteY3" fmla="*/ 0 h 257442"/>
                <a:gd name="connsiteX0" fmla="*/ 3302854 w 3302854"/>
                <a:gd name="connsiteY0" fmla="*/ 0 h 257442"/>
                <a:gd name="connsiteX1" fmla="*/ 3062185 w 3302854"/>
                <a:gd name="connsiteY1" fmla="*/ 257442 h 257442"/>
                <a:gd name="connsiteX2" fmla="*/ 0 w 3302854"/>
                <a:gd name="connsiteY2" fmla="*/ 257442 h 257442"/>
                <a:gd name="connsiteX3" fmla="*/ 0 w 3302854"/>
                <a:gd name="connsiteY3" fmla="*/ 0 h 257442"/>
                <a:gd name="connsiteX0" fmla="*/ 3302854 w 3302854"/>
                <a:gd name="connsiteY0" fmla="*/ 0 h 257442"/>
                <a:gd name="connsiteX1" fmla="*/ 3248133 w 3302854"/>
                <a:gd name="connsiteY1" fmla="*/ 257442 h 257442"/>
                <a:gd name="connsiteX2" fmla="*/ 0 w 3302854"/>
                <a:gd name="connsiteY2" fmla="*/ 257442 h 257442"/>
                <a:gd name="connsiteX3" fmla="*/ 0 w 3302854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1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1 w 3302855"/>
                <a:gd name="connsiteY3" fmla="*/ 0 h 257442"/>
                <a:gd name="connsiteX0" fmla="*/ 3463157 w 3463157"/>
                <a:gd name="connsiteY0" fmla="*/ 0 h 257442"/>
                <a:gd name="connsiteX1" fmla="*/ 3248134 w 3463157"/>
                <a:gd name="connsiteY1" fmla="*/ 257442 h 257442"/>
                <a:gd name="connsiteX2" fmla="*/ 0 w 3463157"/>
                <a:gd name="connsiteY2" fmla="*/ 257442 h 257442"/>
                <a:gd name="connsiteX3" fmla="*/ 1 w 3463157"/>
                <a:gd name="connsiteY3" fmla="*/ 0 h 257442"/>
                <a:gd name="connsiteX0" fmla="*/ 3463157 w 3463157"/>
                <a:gd name="connsiteY0" fmla="*/ 0 h 257442"/>
                <a:gd name="connsiteX1" fmla="*/ 3408436 w 3463157"/>
                <a:gd name="connsiteY1" fmla="*/ 257442 h 257442"/>
                <a:gd name="connsiteX2" fmla="*/ 0 w 3463157"/>
                <a:gd name="connsiteY2" fmla="*/ 257442 h 257442"/>
                <a:gd name="connsiteX3" fmla="*/ 1 w 3463157"/>
                <a:gd name="connsiteY3" fmla="*/ 0 h 257442"/>
                <a:gd name="connsiteX0" fmla="*/ 3463156 w 3463156"/>
                <a:gd name="connsiteY0" fmla="*/ 0 h 257442"/>
                <a:gd name="connsiteX1" fmla="*/ 3408435 w 3463156"/>
                <a:gd name="connsiteY1" fmla="*/ 257442 h 257442"/>
                <a:gd name="connsiteX2" fmla="*/ 0 w 3463156"/>
                <a:gd name="connsiteY2" fmla="*/ 257442 h 257442"/>
                <a:gd name="connsiteX3" fmla="*/ 0 w 3463156"/>
                <a:gd name="connsiteY3" fmla="*/ 0 h 257442"/>
                <a:gd name="connsiteX0" fmla="*/ 3463157 w 3463157"/>
                <a:gd name="connsiteY0" fmla="*/ 0 h 257442"/>
                <a:gd name="connsiteX1" fmla="*/ 3408436 w 3463157"/>
                <a:gd name="connsiteY1" fmla="*/ 257442 h 257442"/>
                <a:gd name="connsiteX2" fmla="*/ 1 w 3463157"/>
                <a:gd name="connsiteY2" fmla="*/ 257442 h 257442"/>
                <a:gd name="connsiteX3" fmla="*/ 0 w 3463157"/>
                <a:gd name="connsiteY3" fmla="*/ 0 h 257442"/>
                <a:gd name="connsiteX0" fmla="*/ 3631471 w 3631471"/>
                <a:gd name="connsiteY0" fmla="*/ 0 h 257442"/>
                <a:gd name="connsiteX1" fmla="*/ 3408436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463155 w 3576749"/>
                <a:gd name="connsiteY0" fmla="*/ 0 h 257442"/>
                <a:gd name="connsiteX1" fmla="*/ 3576749 w 3576749"/>
                <a:gd name="connsiteY1" fmla="*/ 257442 h 257442"/>
                <a:gd name="connsiteX2" fmla="*/ 0 w 3576749"/>
                <a:gd name="connsiteY2" fmla="*/ 257442 h 257442"/>
                <a:gd name="connsiteX3" fmla="*/ 0 w 3576749"/>
                <a:gd name="connsiteY3" fmla="*/ 0 h 257442"/>
                <a:gd name="connsiteX0" fmla="*/ 3463155 w 3463155"/>
                <a:gd name="connsiteY0" fmla="*/ 0 h 257442"/>
                <a:gd name="connsiteX1" fmla="*/ 3408435 w 3463155"/>
                <a:gd name="connsiteY1" fmla="*/ 257442 h 257442"/>
                <a:gd name="connsiteX2" fmla="*/ 0 w 3463155"/>
                <a:gd name="connsiteY2" fmla="*/ 257442 h 257442"/>
                <a:gd name="connsiteX3" fmla="*/ 0 w 3463155"/>
                <a:gd name="connsiteY3" fmla="*/ 0 h 257442"/>
                <a:gd name="connsiteX0" fmla="*/ 3463155 w 3463155"/>
                <a:gd name="connsiteY0" fmla="*/ 0 h 257442"/>
                <a:gd name="connsiteX1" fmla="*/ 3408435 w 3463155"/>
                <a:gd name="connsiteY1" fmla="*/ 257442 h 257442"/>
                <a:gd name="connsiteX2" fmla="*/ 0 w 3463155"/>
                <a:gd name="connsiteY2" fmla="*/ 257442 h 257442"/>
                <a:gd name="connsiteX3" fmla="*/ 0 w 3463155"/>
                <a:gd name="connsiteY3" fmla="*/ 0 h 257442"/>
                <a:gd name="connsiteX0" fmla="*/ 3463155 w 3463155"/>
                <a:gd name="connsiteY0" fmla="*/ 0 h 257442"/>
                <a:gd name="connsiteX1" fmla="*/ 3408435 w 3463155"/>
                <a:gd name="connsiteY1" fmla="*/ 257442 h 257442"/>
                <a:gd name="connsiteX2" fmla="*/ 0 w 3463155"/>
                <a:gd name="connsiteY2" fmla="*/ 257442 h 257442"/>
                <a:gd name="connsiteX3" fmla="*/ 0 w 3463155"/>
                <a:gd name="connsiteY3" fmla="*/ 0 h 257442"/>
                <a:gd name="connsiteX0" fmla="*/ 3302855 w 3408435"/>
                <a:gd name="connsiteY0" fmla="*/ 0 h 257442"/>
                <a:gd name="connsiteX1" fmla="*/ 3408435 w 3408435"/>
                <a:gd name="connsiteY1" fmla="*/ 257442 h 257442"/>
                <a:gd name="connsiteX2" fmla="*/ 0 w 3408435"/>
                <a:gd name="connsiteY2" fmla="*/ 257442 h 257442"/>
                <a:gd name="connsiteX3" fmla="*/ 0 w 340843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302855 w 3302855"/>
                <a:gd name="connsiteY0" fmla="*/ 0 h 257442"/>
                <a:gd name="connsiteX1" fmla="*/ 3248134 w 3302855"/>
                <a:gd name="connsiteY1" fmla="*/ 257442 h 257442"/>
                <a:gd name="connsiteX2" fmla="*/ 0 w 3302855"/>
                <a:gd name="connsiteY2" fmla="*/ 257442 h 257442"/>
                <a:gd name="connsiteX3" fmla="*/ 0 w 3302855"/>
                <a:gd name="connsiteY3" fmla="*/ 0 h 257442"/>
                <a:gd name="connsiteX0" fmla="*/ 3116907 w 3248134"/>
                <a:gd name="connsiteY0" fmla="*/ 0 h 257442"/>
                <a:gd name="connsiteX1" fmla="*/ 3248134 w 3248134"/>
                <a:gd name="connsiteY1" fmla="*/ 257442 h 257442"/>
                <a:gd name="connsiteX2" fmla="*/ 0 w 3248134"/>
                <a:gd name="connsiteY2" fmla="*/ 257442 h 257442"/>
                <a:gd name="connsiteX3" fmla="*/ 0 w 3248134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0 w 3116907"/>
                <a:gd name="connsiteY2" fmla="*/ 257442 h 257442"/>
                <a:gd name="connsiteX3" fmla="*/ 0 w 3116907"/>
                <a:gd name="connsiteY3" fmla="*/ 0 h 257442"/>
                <a:gd name="connsiteX0" fmla="*/ 3116907 w 3116907"/>
                <a:gd name="connsiteY0" fmla="*/ 0 h 257442"/>
                <a:gd name="connsiteX1" fmla="*/ 3062186 w 3116907"/>
                <a:gd name="connsiteY1" fmla="*/ 257442 h 257442"/>
                <a:gd name="connsiteX2" fmla="*/ 1 w 3116907"/>
                <a:gd name="connsiteY2" fmla="*/ 257442 h 257442"/>
                <a:gd name="connsiteX3" fmla="*/ 0 w 3116907"/>
                <a:gd name="connsiteY3" fmla="*/ 0 h 257442"/>
                <a:gd name="connsiteX0" fmla="*/ 3116906 w 3116906"/>
                <a:gd name="connsiteY0" fmla="*/ 0 h 257442"/>
                <a:gd name="connsiteX1" fmla="*/ 3062185 w 3116906"/>
                <a:gd name="connsiteY1" fmla="*/ 257442 h 257442"/>
                <a:gd name="connsiteX2" fmla="*/ 0 w 3116906"/>
                <a:gd name="connsiteY2" fmla="*/ 257442 h 257442"/>
                <a:gd name="connsiteX3" fmla="*/ 0 w 3116906"/>
                <a:gd name="connsiteY3" fmla="*/ 0 h 257442"/>
                <a:gd name="connsiteX0" fmla="*/ 2941730 w 3062185"/>
                <a:gd name="connsiteY0" fmla="*/ 0 h 257442"/>
                <a:gd name="connsiteX1" fmla="*/ 3062185 w 3062185"/>
                <a:gd name="connsiteY1" fmla="*/ 257442 h 257442"/>
                <a:gd name="connsiteX2" fmla="*/ 0 w 3062185"/>
                <a:gd name="connsiteY2" fmla="*/ 257442 h 257442"/>
                <a:gd name="connsiteX3" fmla="*/ 0 w 3062185"/>
                <a:gd name="connsiteY3" fmla="*/ 0 h 257442"/>
                <a:gd name="connsiteX0" fmla="*/ 2941730 w 2941730"/>
                <a:gd name="connsiteY0" fmla="*/ 0 h 257442"/>
                <a:gd name="connsiteX1" fmla="*/ 2887010 w 2941730"/>
                <a:gd name="connsiteY1" fmla="*/ 257442 h 257442"/>
                <a:gd name="connsiteX2" fmla="*/ 0 w 2941730"/>
                <a:gd name="connsiteY2" fmla="*/ 257442 h 257442"/>
                <a:gd name="connsiteX3" fmla="*/ 0 w 2941730"/>
                <a:gd name="connsiteY3" fmla="*/ 0 h 257442"/>
                <a:gd name="connsiteX0" fmla="*/ 2941730 w 2941730"/>
                <a:gd name="connsiteY0" fmla="*/ 0 h 257442"/>
                <a:gd name="connsiteX1" fmla="*/ 2887010 w 2941730"/>
                <a:gd name="connsiteY1" fmla="*/ 257442 h 257442"/>
                <a:gd name="connsiteX2" fmla="*/ 0 w 2941730"/>
                <a:gd name="connsiteY2" fmla="*/ 257442 h 257442"/>
                <a:gd name="connsiteX3" fmla="*/ 0 w 2941730"/>
                <a:gd name="connsiteY3" fmla="*/ 0 h 257442"/>
                <a:gd name="connsiteX0" fmla="*/ 2941730 w 2941730"/>
                <a:gd name="connsiteY0" fmla="*/ 0 h 257442"/>
                <a:gd name="connsiteX1" fmla="*/ 2887010 w 2941730"/>
                <a:gd name="connsiteY1" fmla="*/ 257442 h 257442"/>
                <a:gd name="connsiteX2" fmla="*/ 0 w 2941730"/>
                <a:gd name="connsiteY2" fmla="*/ 257442 h 257442"/>
                <a:gd name="connsiteX3" fmla="*/ 0 w 2941730"/>
                <a:gd name="connsiteY3" fmla="*/ 0 h 257442"/>
                <a:gd name="connsiteX0" fmla="*/ 2789445 w 2887010"/>
                <a:gd name="connsiteY0" fmla="*/ 0 h 257442"/>
                <a:gd name="connsiteX1" fmla="*/ 2887010 w 2887010"/>
                <a:gd name="connsiteY1" fmla="*/ 257442 h 257442"/>
                <a:gd name="connsiteX2" fmla="*/ 0 w 2887010"/>
                <a:gd name="connsiteY2" fmla="*/ 257442 h 257442"/>
                <a:gd name="connsiteX3" fmla="*/ 0 w 2887010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1 w 2789445"/>
                <a:gd name="connsiteY2" fmla="*/ 257442 h 257442"/>
                <a:gd name="connsiteX3" fmla="*/ 0 w 2789445"/>
                <a:gd name="connsiteY3" fmla="*/ 0 h 257442"/>
                <a:gd name="connsiteX0" fmla="*/ 2789444 w 2789444"/>
                <a:gd name="connsiteY0" fmla="*/ 0 h 257442"/>
                <a:gd name="connsiteX1" fmla="*/ 2734723 w 2789444"/>
                <a:gd name="connsiteY1" fmla="*/ 257442 h 257442"/>
                <a:gd name="connsiteX2" fmla="*/ 0 w 2789444"/>
                <a:gd name="connsiteY2" fmla="*/ 257442 h 257442"/>
                <a:gd name="connsiteX3" fmla="*/ 0 w 2789444"/>
                <a:gd name="connsiteY3" fmla="*/ 0 h 257442"/>
                <a:gd name="connsiteX0" fmla="*/ 2629144 w 2734723"/>
                <a:gd name="connsiteY0" fmla="*/ 0 h 257442"/>
                <a:gd name="connsiteX1" fmla="*/ 2734723 w 2734723"/>
                <a:gd name="connsiteY1" fmla="*/ 257442 h 257442"/>
                <a:gd name="connsiteX2" fmla="*/ 0 w 2734723"/>
                <a:gd name="connsiteY2" fmla="*/ 257442 h 257442"/>
                <a:gd name="connsiteX3" fmla="*/ 0 w 2734723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629144 w 2629144"/>
                <a:gd name="connsiteY0" fmla="*/ 0 h 257442"/>
                <a:gd name="connsiteX1" fmla="*/ 2574424 w 2629144"/>
                <a:gd name="connsiteY1" fmla="*/ 257442 h 257442"/>
                <a:gd name="connsiteX2" fmla="*/ 0 w 2629144"/>
                <a:gd name="connsiteY2" fmla="*/ 257442 h 257442"/>
                <a:gd name="connsiteX3" fmla="*/ 0 w 2629144"/>
                <a:gd name="connsiteY3" fmla="*/ 0 h 257442"/>
                <a:gd name="connsiteX0" fmla="*/ 2460830 w 2574424"/>
                <a:gd name="connsiteY0" fmla="*/ 0 h 257442"/>
                <a:gd name="connsiteX1" fmla="*/ 2574424 w 2574424"/>
                <a:gd name="connsiteY1" fmla="*/ 257442 h 257442"/>
                <a:gd name="connsiteX2" fmla="*/ 0 w 2574424"/>
                <a:gd name="connsiteY2" fmla="*/ 257442 h 257442"/>
                <a:gd name="connsiteX3" fmla="*/ 0 w 2574424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638763 w 2638763"/>
                <a:gd name="connsiteY0" fmla="*/ 0 h 257442"/>
                <a:gd name="connsiteX1" fmla="*/ 2406109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807079 w 2807079"/>
                <a:gd name="connsiteY0" fmla="*/ 0 h 257442"/>
                <a:gd name="connsiteX1" fmla="*/ 2584042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967379 w 2967379"/>
                <a:gd name="connsiteY0" fmla="*/ 0 h 257442"/>
                <a:gd name="connsiteX1" fmla="*/ 2752358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2967379 w 2967379"/>
                <a:gd name="connsiteY0" fmla="*/ 0 h 257442"/>
                <a:gd name="connsiteX1" fmla="*/ 2912658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2967379 w 2967379"/>
                <a:gd name="connsiteY0" fmla="*/ 0 h 257442"/>
                <a:gd name="connsiteX1" fmla="*/ 2912658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2967379 w 2967379"/>
                <a:gd name="connsiteY0" fmla="*/ 0 h 257442"/>
                <a:gd name="connsiteX1" fmla="*/ 2912658 w 2967379"/>
                <a:gd name="connsiteY1" fmla="*/ 257442 h 257442"/>
                <a:gd name="connsiteX2" fmla="*/ 0 w 2967379"/>
                <a:gd name="connsiteY2" fmla="*/ 257442 h 257442"/>
                <a:gd name="connsiteX3" fmla="*/ 0 w 2967379"/>
                <a:gd name="connsiteY3" fmla="*/ 0 h 257442"/>
                <a:gd name="connsiteX0" fmla="*/ 3135694 w 3135694"/>
                <a:gd name="connsiteY0" fmla="*/ 0 h 257442"/>
                <a:gd name="connsiteX1" fmla="*/ 2912658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4 w 3135694"/>
                <a:gd name="connsiteY0" fmla="*/ 0 h 257442"/>
                <a:gd name="connsiteX1" fmla="*/ 3080972 w 3135694"/>
                <a:gd name="connsiteY1" fmla="*/ 257442 h 257442"/>
                <a:gd name="connsiteX2" fmla="*/ 0 w 3135694"/>
                <a:gd name="connsiteY2" fmla="*/ 257442 h 257442"/>
                <a:gd name="connsiteX3" fmla="*/ 0 w 3135694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1 w 3135695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1 w 3135695"/>
                <a:gd name="connsiteY3" fmla="*/ 0 h 257442"/>
                <a:gd name="connsiteX0" fmla="*/ 3321643 w 3321643"/>
                <a:gd name="connsiteY0" fmla="*/ 0 h 257442"/>
                <a:gd name="connsiteX1" fmla="*/ 3080973 w 3321643"/>
                <a:gd name="connsiteY1" fmla="*/ 257442 h 257442"/>
                <a:gd name="connsiteX2" fmla="*/ 0 w 3321643"/>
                <a:gd name="connsiteY2" fmla="*/ 257442 h 257442"/>
                <a:gd name="connsiteX3" fmla="*/ 1 w 3321643"/>
                <a:gd name="connsiteY3" fmla="*/ 0 h 257442"/>
                <a:gd name="connsiteX0" fmla="*/ 3321643 w 3321643"/>
                <a:gd name="connsiteY0" fmla="*/ 0 h 257442"/>
                <a:gd name="connsiteX1" fmla="*/ 3266922 w 3321643"/>
                <a:gd name="connsiteY1" fmla="*/ 257442 h 257442"/>
                <a:gd name="connsiteX2" fmla="*/ 0 w 3321643"/>
                <a:gd name="connsiteY2" fmla="*/ 257442 h 257442"/>
                <a:gd name="connsiteX3" fmla="*/ 1 w 3321643"/>
                <a:gd name="connsiteY3" fmla="*/ 0 h 257442"/>
                <a:gd name="connsiteX0" fmla="*/ 3321642 w 3321642"/>
                <a:gd name="connsiteY0" fmla="*/ 0 h 257442"/>
                <a:gd name="connsiteX1" fmla="*/ 3266921 w 3321642"/>
                <a:gd name="connsiteY1" fmla="*/ 257442 h 257442"/>
                <a:gd name="connsiteX2" fmla="*/ 0 w 3321642"/>
                <a:gd name="connsiteY2" fmla="*/ 257442 h 257442"/>
                <a:gd name="connsiteX3" fmla="*/ 0 w 3321642"/>
                <a:gd name="connsiteY3" fmla="*/ 0 h 257442"/>
                <a:gd name="connsiteX0" fmla="*/ 3321643 w 3321643"/>
                <a:gd name="connsiteY0" fmla="*/ 0 h 257442"/>
                <a:gd name="connsiteX1" fmla="*/ 3266922 w 3321643"/>
                <a:gd name="connsiteY1" fmla="*/ 257442 h 257442"/>
                <a:gd name="connsiteX2" fmla="*/ 1 w 3321643"/>
                <a:gd name="connsiteY2" fmla="*/ 257442 h 257442"/>
                <a:gd name="connsiteX3" fmla="*/ 0 w 3321643"/>
                <a:gd name="connsiteY3" fmla="*/ 0 h 257442"/>
                <a:gd name="connsiteX0" fmla="*/ 3481943 w 3481943"/>
                <a:gd name="connsiteY0" fmla="*/ 0 h 257442"/>
                <a:gd name="connsiteX1" fmla="*/ 3266922 w 3481943"/>
                <a:gd name="connsiteY1" fmla="*/ 257442 h 257442"/>
                <a:gd name="connsiteX2" fmla="*/ 1 w 3481943"/>
                <a:gd name="connsiteY2" fmla="*/ 257442 h 257442"/>
                <a:gd name="connsiteX3" fmla="*/ 0 w 3481943"/>
                <a:gd name="connsiteY3" fmla="*/ 0 h 257442"/>
                <a:gd name="connsiteX0" fmla="*/ 3481943 w 3481943"/>
                <a:gd name="connsiteY0" fmla="*/ 0 h 257442"/>
                <a:gd name="connsiteX1" fmla="*/ 3427222 w 3481943"/>
                <a:gd name="connsiteY1" fmla="*/ 257442 h 257442"/>
                <a:gd name="connsiteX2" fmla="*/ 1 w 3481943"/>
                <a:gd name="connsiteY2" fmla="*/ 257442 h 257442"/>
                <a:gd name="connsiteX3" fmla="*/ 0 w 3481943"/>
                <a:gd name="connsiteY3" fmla="*/ 0 h 257442"/>
                <a:gd name="connsiteX0" fmla="*/ 3481943 w 3481943"/>
                <a:gd name="connsiteY0" fmla="*/ 0 h 257442"/>
                <a:gd name="connsiteX1" fmla="*/ 3427222 w 3481943"/>
                <a:gd name="connsiteY1" fmla="*/ 257442 h 257442"/>
                <a:gd name="connsiteX2" fmla="*/ 1 w 3481943"/>
                <a:gd name="connsiteY2" fmla="*/ 257442 h 257442"/>
                <a:gd name="connsiteX3" fmla="*/ 0 w 3481943"/>
                <a:gd name="connsiteY3" fmla="*/ 0 h 257442"/>
                <a:gd name="connsiteX0" fmla="*/ 3481942 w 3481942"/>
                <a:gd name="connsiteY0" fmla="*/ 0 h 257442"/>
                <a:gd name="connsiteX1" fmla="*/ 3427221 w 3481942"/>
                <a:gd name="connsiteY1" fmla="*/ 257442 h 257442"/>
                <a:gd name="connsiteX2" fmla="*/ 0 w 3481942"/>
                <a:gd name="connsiteY2" fmla="*/ 257442 h 257442"/>
                <a:gd name="connsiteX3" fmla="*/ 0 w 3481942"/>
                <a:gd name="connsiteY3" fmla="*/ 0 h 257442"/>
                <a:gd name="connsiteX0" fmla="*/ 3650257 w 3650257"/>
                <a:gd name="connsiteY0" fmla="*/ 0 h 257442"/>
                <a:gd name="connsiteX1" fmla="*/ 3427221 w 3650257"/>
                <a:gd name="connsiteY1" fmla="*/ 257442 h 257442"/>
                <a:gd name="connsiteX2" fmla="*/ 0 w 3650257"/>
                <a:gd name="connsiteY2" fmla="*/ 257442 h 257442"/>
                <a:gd name="connsiteX3" fmla="*/ 0 w 3650257"/>
                <a:gd name="connsiteY3" fmla="*/ 0 h 257442"/>
                <a:gd name="connsiteX0" fmla="*/ 3650257 w 3650257"/>
                <a:gd name="connsiteY0" fmla="*/ 0 h 257442"/>
                <a:gd name="connsiteX1" fmla="*/ 3595536 w 3650257"/>
                <a:gd name="connsiteY1" fmla="*/ 257442 h 257442"/>
                <a:gd name="connsiteX2" fmla="*/ 0 w 3650257"/>
                <a:gd name="connsiteY2" fmla="*/ 257442 h 257442"/>
                <a:gd name="connsiteX3" fmla="*/ 0 w 3650257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1 w 3650258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0258" h="257442">
                  <a:moveTo>
                    <a:pt x="3650258" y="0"/>
                  </a:moveTo>
                  <a:lnTo>
                    <a:pt x="359553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RunningAgenda1LevelTextLeft238016">
              <a:extLst>
                <a:ext uri="{FF2B5EF4-FFF2-40B4-BE49-F238E27FC236}">
                  <a16:creationId xmlns:a16="http://schemas.microsoft.com/office/drawing/2014/main" id="{FB8856C1-A090-64CA-F5F0-4E4998C02231}"/>
                </a:ext>
              </a:extLst>
            </p:cNvPr>
            <p:cNvSpPr txBox="1"/>
            <p:nvPr/>
          </p:nvSpPr>
          <p:spPr bwMode="gray">
            <a:xfrm>
              <a:off x="0" y="876300"/>
              <a:ext cx="35955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sentiment</a:t>
              </a: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A1682C3A-AB65-C5A8-52C3-10934F182DD0}"/>
              </a:ext>
            </a:extLst>
          </p:cNvPr>
          <p:cNvSpPr/>
          <p:nvPr/>
        </p:nvSpPr>
        <p:spPr bwMode="gray">
          <a:xfrm>
            <a:off x="8932115" y="4346792"/>
            <a:ext cx="698553" cy="226129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  <a:latin typeface="Arial" panose="020B0604020202020204" pitchFamily="34" charset="0"/>
              </a:rPr>
              <a:t>Sphere</a:t>
            </a:r>
          </a:p>
        </p:txBody>
      </p:sp>
      <p:pic>
        <p:nvPicPr>
          <p:cNvPr id="5" name="Picture 2" descr="Pye-Barker Could Be Eyeing $6B Market Listing This Year, Report Says | SDM  Magazine">
            <a:extLst>
              <a:ext uri="{FF2B5EF4-FFF2-40B4-BE49-F238E27FC236}">
                <a16:creationId xmlns:a16="http://schemas.microsoft.com/office/drawing/2014/main" id="{8A048E43-7298-369F-35A9-1BE42FD68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6534" y="2653434"/>
            <a:ext cx="829714" cy="265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Uniforms - Corporate Apparel | Cintas">
            <a:extLst>
              <a:ext uri="{FF2B5EF4-FFF2-40B4-BE49-F238E27FC236}">
                <a16:creationId xmlns:a16="http://schemas.microsoft.com/office/drawing/2014/main" id="{38236E45-3FC1-BDE9-7C54-2D40A16A5E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3301" y="2309540"/>
            <a:ext cx="636181" cy="23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Hiller | Brandox brand asset portal">
            <a:extLst>
              <a:ext uri="{FF2B5EF4-FFF2-40B4-BE49-F238E27FC236}">
                <a16:creationId xmlns:a16="http://schemas.microsoft.com/office/drawing/2014/main" id="{F30C1FC5-009F-22E8-ED66-D0758FB97A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25" b="33125"/>
          <a:stretch/>
        </p:blipFill>
        <p:spPr bwMode="auto">
          <a:xfrm>
            <a:off x="8874252" y="3986442"/>
            <a:ext cx="814279" cy="274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DF58F4E-097F-9E46-1BAE-EFD873441BBD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800916" y="1985589"/>
            <a:ext cx="960951" cy="205003"/>
          </a:xfrm>
          <a:prstGeom prst="rect">
            <a:avLst/>
          </a:prstGeom>
        </p:spPr>
      </p:pic>
      <p:pic>
        <p:nvPicPr>
          <p:cNvPr id="9" name="Picture 12" descr="MAC Systems is Now Summit Fire &amp; Security. - Summit Fire &amp; Security">
            <a:extLst>
              <a:ext uri="{FF2B5EF4-FFF2-40B4-BE49-F238E27FC236}">
                <a16:creationId xmlns:a16="http://schemas.microsoft.com/office/drawing/2014/main" id="{3F21F86B-BDA0-F72F-1A4A-89CDAAFB51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0973" y="2942084"/>
            <a:ext cx="700837" cy="31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4" descr="Century Fire Protection | Comprehensive Fire Protection‎ Services">
            <a:extLst>
              <a:ext uri="{FF2B5EF4-FFF2-40B4-BE49-F238E27FC236}">
                <a16:creationId xmlns:a16="http://schemas.microsoft.com/office/drawing/2014/main" id="{D95B64F9-A5DC-B890-01C8-7B439A3E27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7668" y="3309694"/>
            <a:ext cx="467446" cy="277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6" descr="Marmic Fire &amp; Safety Logo">
            <a:extLst>
              <a:ext uri="{FF2B5EF4-FFF2-40B4-BE49-F238E27FC236}">
                <a16:creationId xmlns:a16="http://schemas.microsoft.com/office/drawing/2014/main" id="{AFC613D9-5C64-93A9-4E85-B111279F86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378" y="4640854"/>
            <a:ext cx="772026" cy="326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8" descr="Home | Firetrol Protection Systems">
            <a:extLst>
              <a:ext uri="{FF2B5EF4-FFF2-40B4-BE49-F238E27FC236}">
                <a16:creationId xmlns:a16="http://schemas.microsoft.com/office/drawing/2014/main" id="{7F28348F-8C3B-78A0-69FE-4CA7533DE1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2933" y="3634111"/>
            <a:ext cx="1276917" cy="319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6E0955D-C3AE-56F1-96BD-201429318FE1}"/>
              </a:ext>
            </a:extLst>
          </p:cNvPr>
          <p:cNvPicPr>
            <a:picLocks noChangeAspect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7466" y="4984968"/>
            <a:ext cx="667851" cy="26264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60D9A26-EE40-2DC0-54C8-D5B58BA966D2}"/>
              </a:ext>
            </a:extLst>
          </p:cNvPr>
          <p:cNvSpPr/>
          <p:nvPr/>
        </p:nvSpPr>
        <p:spPr bwMode="gray">
          <a:xfrm>
            <a:off x="8424254" y="2068278"/>
            <a:ext cx="314123" cy="59809"/>
          </a:xfrm>
          <a:prstGeom prst="rect">
            <a:avLst/>
          </a:prstGeom>
          <a:solidFill>
            <a:srgbClr val="7791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A9FCA5-07B4-BAA6-613A-7C144E9A5486}"/>
              </a:ext>
            </a:extLst>
          </p:cNvPr>
          <p:cNvSpPr/>
          <p:nvPr/>
        </p:nvSpPr>
        <p:spPr bwMode="gray">
          <a:xfrm>
            <a:off x="8424254" y="2401976"/>
            <a:ext cx="314123" cy="59809"/>
          </a:xfrm>
          <a:prstGeom prst="rect">
            <a:avLst/>
          </a:prstGeom>
          <a:solidFill>
            <a:srgbClr val="5C5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082FEC9-B871-FE5A-B385-5A16F6CE832D}"/>
              </a:ext>
            </a:extLst>
          </p:cNvPr>
          <p:cNvSpPr/>
          <p:nvPr/>
        </p:nvSpPr>
        <p:spPr bwMode="gray">
          <a:xfrm>
            <a:off x="8424254" y="2735674"/>
            <a:ext cx="314123" cy="59809"/>
          </a:xfrm>
          <a:prstGeom prst="rect">
            <a:avLst/>
          </a:prstGeom>
          <a:solidFill>
            <a:srgbClr val="FAEB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1532337-BE7C-93E1-22BE-905596D3CF88}"/>
              </a:ext>
            </a:extLst>
          </p:cNvPr>
          <p:cNvSpPr/>
          <p:nvPr/>
        </p:nvSpPr>
        <p:spPr bwMode="gray">
          <a:xfrm>
            <a:off x="8424254" y="3069372"/>
            <a:ext cx="314123" cy="59809"/>
          </a:xfrm>
          <a:prstGeom prst="rect">
            <a:avLst/>
          </a:prstGeom>
          <a:solidFill>
            <a:srgbClr val="AA88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49DA155-CEE2-A987-C13A-2219AD05FD91}"/>
              </a:ext>
            </a:extLst>
          </p:cNvPr>
          <p:cNvSpPr/>
          <p:nvPr/>
        </p:nvSpPr>
        <p:spPr bwMode="gray">
          <a:xfrm>
            <a:off x="8424254" y="3403070"/>
            <a:ext cx="314123" cy="59809"/>
          </a:xfrm>
          <a:prstGeom prst="rect">
            <a:avLst/>
          </a:prstGeom>
          <a:solidFill>
            <a:srgbClr val="50786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0974CD5-4260-5A38-0304-D2D84C506EF0}"/>
              </a:ext>
            </a:extLst>
          </p:cNvPr>
          <p:cNvSpPr/>
          <p:nvPr/>
        </p:nvSpPr>
        <p:spPr bwMode="gray">
          <a:xfrm>
            <a:off x="8424254" y="3736768"/>
            <a:ext cx="314123" cy="59809"/>
          </a:xfrm>
          <a:prstGeom prst="rect">
            <a:avLst/>
          </a:prstGeom>
          <a:solidFill>
            <a:srgbClr val="624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6C42EA3-89D6-2002-F85D-DA64F078F244}"/>
              </a:ext>
            </a:extLst>
          </p:cNvPr>
          <p:cNvSpPr/>
          <p:nvPr/>
        </p:nvSpPr>
        <p:spPr bwMode="gray">
          <a:xfrm>
            <a:off x="8424254" y="4070466"/>
            <a:ext cx="314123" cy="59809"/>
          </a:xfrm>
          <a:prstGeom prst="rect">
            <a:avLst/>
          </a:prstGeom>
          <a:solidFill>
            <a:srgbClr val="CDB48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3679337-502E-0200-419C-B4259207745D}"/>
              </a:ext>
            </a:extLst>
          </p:cNvPr>
          <p:cNvSpPr/>
          <p:nvPr/>
        </p:nvSpPr>
        <p:spPr bwMode="gray">
          <a:xfrm>
            <a:off x="8424254" y="4432202"/>
            <a:ext cx="314123" cy="59809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ED54480-C28B-5413-5925-F9413257A808}"/>
              </a:ext>
            </a:extLst>
          </p:cNvPr>
          <p:cNvSpPr/>
          <p:nvPr/>
        </p:nvSpPr>
        <p:spPr bwMode="gray">
          <a:xfrm>
            <a:off x="8424254" y="4774363"/>
            <a:ext cx="314123" cy="59809"/>
          </a:xfrm>
          <a:prstGeom prst="rect">
            <a:avLst/>
          </a:prstGeom>
          <a:solidFill>
            <a:srgbClr val="45637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801DD02-B41F-41D0-9943-72F1597AEB3E}"/>
              </a:ext>
            </a:extLst>
          </p:cNvPr>
          <p:cNvSpPr/>
          <p:nvPr/>
        </p:nvSpPr>
        <p:spPr bwMode="gray">
          <a:xfrm>
            <a:off x="8424254" y="5086384"/>
            <a:ext cx="314123" cy="59809"/>
          </a:xfrm>
          <a:prstGeom prst="rect">
            <a:avLst/>
          </a:prstGeom>
          <a:solidFill>
            <a:srgbClr val="BBCAB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D6BEF25-5712-EB52-9A0A-BE1975874298}"/>
              </a:ext>
            </a:extLst>
          </p:cNvPr>
          <p:cNvSpPr/>
          <p:nvPr/>
        </p:nvSpPr>
        <p:spPr bwMode="gray">
          <a:xfrm>
            <a:off x="8346404" y="4282527"/>
            <a:ext cx="3510206" cy="359158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F730369-50B4-0B81-09A9-62798076F21E}"/>
              </a:ext>
            </a:extLst>
          </p:cNvPr>
          <p:cNvSpPr/>
          <p:nvPr/>
        </p:nvSpPr>
        <p:spPr bwMode="gray">
          <a:xfrm>
            <a:off x="249454" y="5536415"/>
            <a:ext cx="7864441" cy="252999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C8F9819F-04F2-7A25-7F0A-C02BCBE3F75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2" y="950918"/>
            <a:ext cx="257175" cy="25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768575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A0BA3DAD-9B34-4D4B-A195-6203D0A4A0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84" imgH="384" progId="TCLayout.ActiveDocument.1">
                  <p:embed/>
                </p:oleObj>
              </mc:Choice>
              <mc:Fallback>
                <p:oleObj name="think-cell Slide" r:id="rId12" imgW="384" imgH="384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BA3DAD-9B34-4D4B-A195-6203D0A4A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btfpMGChart74790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cid7dQ+Kub8ulUpaRu+ZvkeQKYThSehVAux+2Z6ekEhlACpPBIDl4idFwS+LkSsnGMah1oiS2Cey6I95pkYD4uyMV++L5qaS6HjHU4AZ6+9wui4UzNplpY0bvJrs714EuhcgDYgGzGqj9yajVbcwBs7UeFO/5Uyh1UpcBC3Ws7GIJYePdtgVyaWeVu9GtAZCZX5qodTEyy6klZ1e5mXC1+Zl12GyoEu+cwIjARK1p2qfrjzwEBzwdgQh2xUSXgsmHNeQbXQER9MUQucVzYPVLUOABxi8aRBC3OoXgw/7aGrXYkqkpTiGwrSD17Grm/9SeCWUNy2Hgn1W93ZWNpVdL24b3poFj+sY9Rs4WcVvVJUUFjEMpPdYQplnrejQx+40hVSNlh/bNzi6+sgIGZqoE6D+B0iAhuVJSWt/7Lp8yXU8hWY/xXCiILztYWjXJskPso5Q5FYtnIXe/skVlWI2JI96lhaE7Q5ub9DFYxeaCTVs7iGs/X6xXW1/wgfAqi1zpiajFHSIUZQIUwp42Qp5ASm0/XD1TZHD15fuB1mTnL1/TnMeYxJnpP1l6IGqQYladnn2aufvSB8nK0NoQy9GD3zZFcS2ufnbU5PARhWAvIKiu96OcUO7xFo/AIC2AC+kVMKaS75Q76ynqHrWm28PZUKZJG36ZFKCxBxLCqJ/i9cufyoTS3n/FiyV6gAqprKoLqhj0oLRaGx2lcNRgQy1QgW+n9Z/rEd7Esp7AnnaU5yhnDFDaWgZ6H/JO4h+JJAg2ImPyGwlJwVAvqiCk0hPe3I0fyTHxtYpWpjSUxI/fYxjBzeAFR1vO6e7q/qxifo1m1puuZrVV16pjFAPK8gABmuWvE1M7v3SZNg3ciYfzeLVJTAZ4PTexA9NH/zbVdS6fUGObEl1QUgQdHK4xqeni1OJ9SliT3AWQS2HN2c6PD+k5zZDieUfpIc6WykoX3g74vywdjmmH+Ms1fOPx7NhcaosLN97kJK/Vb54cubP4knycy1R9hHrz/zmQD8GgNlC8S2JY1aCU6b6U4DbMgPfLpRQjcfd7Eg9a+TBAb8Ca3BjLpyDCczO0OAk4EYnJ71PVgKDWGjriDNjXsSesyb8hEBh2Hgy4x7HYzxiRNNTsIcnERsyy7o/KTWwjsBNoNXFXZeQTeKQM8XGPNX8qvKVXoae2uHCrBQ7X6v0SyPyqBm5YPbP9BTjOK1TBhBkOJem2KKRrH2B3ZRKwxFolCLDgnunkHyG5K3RpI6y5SQwvMAH5K2x8IivH9EFnBvsGtM1S7qbq0L8aK5xZHkWSKxxqhTSDAyRNT0JDQ/KZKaxKE8kCSMaQn17TscsxELxUcp8gBDQmqcHj33IWoGauqcsqYOSKc3BgxLq71C/wDSa7f5B+/UV9FOsxVFpUUSkMxCnZEd77ooWH9b9ZkqPPsvw9Dz4LBoO2Zk4BRS2fc3Oh+gRcDCNqmk8dhj1t476kITj5uPFiMKQu4ZFKyFBLWiUFxjP6TdY4Q/Z/85ajmWFXod5jqc5wplmm2SRkvh/WXeIlKEac/15vM+HnCKGIAW9yWWOpq+jrYmoRxsXUcl2Jm9U+yVkuZv9mtACtag+yfXEGAn5VVhWmKRcjc5el7li0FUUZoLGF9pDuBqPc6fgeTimPL3UHJzWLuoPfaVmr6tKOMuW0uU0SNm1X5lyLC3WTdCyBdYGBkjg722dMqBVPWhe1U9UHIw785a1v6RFNoOeVSMr3VHW/Z2FDVp5lNyZXEsab5FFH+6xemzHY7aSL/Xieg7r6ITMET2VLc8Of02X5UBWDlZ7emLenLIz8ldflsMCoUe4fVwcONnxlUjlRDROfx/nj++EswHc5bhLUJtPxL2ZJiEmgYQ+A0/wsSHp6kdPzR7DFXAudbMh2wXxsIDt61Bxx5F05jIBxyI3tVCgzzXAlGQ3pe4glsN7n6z+73ruBSI3cscpRBPuKcNzvhMPuSyJqC6GcbOfqKJ03lqAXqB6wIPHIOqAEe1ZqmrdZA8K0+eOwnf8TqwhylWXtI7sryXK0pDY4Y5qj3cKIypDm/EZW1S8CwA5gZEqL+rFew8MnvCbT0r08/8P8qX+tkoI+PXT9lTU5e0waj1zk0JZFQT6pL65D1cywRtOYSba1nvdF6Euh0P6l42eJ9tzJ9oX2XiJvNGcqPtYbmSfopMb+LkuSqB/mRY92Uk7UN5Sgft2y6s+QfnDpQ8qx6x7U7AygLXxot8J2CldJfizfhM1yAE4oqqLthhVGEbv182D7iMmMBlkbFs+HQYnNKDE9wkFKN2wd4lYZfVeGox/JgDOrRBt84NGwRynK8gtvS6WjPB1cejnsiHEZbtS7HrnlWHT5fcLOhT/6R/PjjjYMjrNS+fLO2u9PnumKIxL1iAcNtRI/LvCf8zLZdz8pILX8/RrSph0gr+vBAW2DxO7JtpVIpdpCQkXZaoAu3xtbJeVd4lW5ob5wA4bKcFrry68b/6fki07OxtvUjF9D9DmtCTO8vLPyuZITztH+/QDKpeH5leJT1u0r6ntMewIoRYIsS8YSUFkjuS7LmncAiAms188fKuhHJGVkTQwOqOUh2orb8LnpRfAfQwEmjVa7zqw3dq1qu/0PqxBU/d3xM3S4WK7Mfh3gRsQfKv/8AckLuNr84H5bCC58uyfF8uXn2MrxhH2iheleFhPtFzBDkyC1Ce/G69LvRmD07EXM0Y/mlpJN8VC35e+QnD9+U2qHL6uuC9dkgLboCGxbshSCuZadmXy0xsSxwQqKZUeOLlCIc2GI2dpQ7eKEYAX4KVwS0d/Y3P55F4f/p5bZyyZxkcRfyXVtomGGkwvyYHcZMWrMrKTouHrBkU3WE2pMzfUq2dicqO5nqE4xsvhbRHhLwLiEjGIp0vrTjjByEmXXG4zh9zbpk6+IQ1tk4W4wVqDSG02nTS9i6BJaOs90KpJynaXOaKzkA//YqPxFNKW1b8Q1/g+EP3EGioY92tGf5DZFICx0gTinwK66oO5OuTgEG3nZYEZxDicA1qXffvy48glsoT2HpEMLVR2MjhTF8ni2TmNqMfNk1j4YAr6s6w9OhXBOp0hs5uD4uUcZJV7kXwDD66MXp4axWDozB8gpBeGfU79uO1fXmvWPjZ060yRjG0B+MTUol3RPParfdnrN6S2rcOdcHeaH6ekILuFeRXlW9j1YnrdZX64Q+psIL3RVkyLd6WtYJ5U4OEoI74QMhQqB9Gdv911OW0pMHkzTJZq4SfLEsXlvK4CJRI9mwulSaPpDpcGBawVt9eiyyDvOvAtldO8U93+Ftht8tZHjUM8LBlXhAhLaV9Os9R7zX8RHMbMGLTwVYymrtz0I50AmlqPfcgMzuGBRel2IDnKmXVxCeazujyAyBkSwmzy9lJuJXQrA5tudJH8Se+cHuyjaZubgC/C8GeNWAw92qIOmuNm4WZpt+3MWqKspJ4tKviCc9A96EZPsh28F/mVT0hYS61/H2fnTPObf1WeUkBZotPqfkIVsdRLjklvl5TkPoxCGa0nrgdOkU67JTneUcyLN70ZHVdfZtIpKejhEgUMP+h1edET7SsM0eOvO1FEHySN4J4uie+gffMxkc90luNbt48XUiX8zO0tVG4KIUtKMoRG98RbVRuNZnqnVJxKWtx/mH5i2zANGY57KRL465ScCF6/q7jULFholNly4z7vb7HgRRScj8e8mCKY6g6HXXJEgB2UKfqu9ru0gwKMzixTlGcQ1X8MfBRPn2+Uc4of/oZ0PUmt46WDDZuuhklDoJlLyj8YGxtpiBT6T5bR6sjw6ETVh59oHIckC+lXRks7juQbrM/HuFdjL14PbPUL7/53vSR00uHNOIQ0hmojtrU9lyMZBiJ6nR7A/GQ4Cfp1XS2imKhkcLqRlx7rIknkHc5smv+LhQggILubUj25daV4/bzl3AYhExYZoKgXWtTJK8WmN6zPPY4at5z2D6lFYJWfPmZZvvgSDTqSwntrckVRAbAtSQqFQUpWkcs75m2qIn0HxmJZ+D+nFSjjBCESwTQQnI77sdYsptfVbuW0L4Etb6gAG7xtgMgU3SaJz1nfLupZr+fn/IE3msz+UOmHUngOJy2dcVDQBcjjGK7CwXGbdT/fBv7Q30aOkZAE39geT5ajdZIu0Mc/MAmRL5cAQMg2JnFX7BBOdbuTH+R1fHu/sL2ZfnKNo4l8PTKiFWVELHVSY3gX+I45rpSWJpdgx5oPlkEyyufv1psll8ApczuNZEUoezycfzkfzpy0gICtvqo0HcwYsIo4HqcYlrJR5oGU/PXihQOo0qiwXnxa3KU/a+zMeilB7ftUd8OkvkwwjV5J9GbQkgmQtVc3MkJmT7S6NED5XAmomYJy9Vgc+E+IU/DVvoV7jIiIdRwNgRkoBO2yhDn33gcjAuK8jDpai2fhPp5saxTwDWhF1Ks+uJ5cDwdI6zmv3kQkIRNxmZqmoEJtSn5MaJuvz3tESMNNANuNVGCRmQ8GdbzES/sWXXFfEjv2mx9Rcy33CjXZAA5c6yEP2bD6hU1q6DV+wpq657EZeaKiHgFxDHL2xsD7ljle/3PuumRQf6rlHTkylLmg37NnCMaB+f/cj/t7f9uvRhtioiHoCxIedFXTsneQxF3wOca3CC5toDk/jdt0RdB5JWFFOF3DgdbhuEEKyCLRScwUIUkXclSXlMxDkc8k/AaN8TJ2OSi3yezD3/X7TJG/Qcy/aAlFAvP7QqYvbVqAGqYI5ttLQwfEFARSAULWQXiVbV85xJhJKCJ0FYr+mVnSzM1tj/3VICgLxC0Dv76lm5a2j51USiVIIVMdzTHsqyLaIi1u9a/sHqXR9xAKlI44mgcg5EGqiPv+qxXM21RCPJNGoJwehD0D5Zm8d4hWtZRKVvpGhsQNNhj4VZq0hbaPajbTgTEigVC2D1Pf8MuCD29PjbBBMYXawFTdZJ+U46hkpCqjMdx4wIWz5QVFcH9zvhWGeE6+60Y9Kto4nUlh+EaWTVfuj1/PkoYlUtsvCFymhnPmb8CzhkLsHqs2kRStolFqDqu6/aAv4KqEHbqjZmRZ6KAb4qVpThKSDpofKu1LAfD9M0N68Orgzq1kIMreBk57+IBkKNL6P6N+id4nVyYxvd8mdgmsfrbtXUV7eFVZSJig5es8/73fWM7K4bUatrbnWOgqyNx3wkHwFb5b4p8OOkl/26rYeW+MW09cOQ6K/ZSvCjYYThLSJaWNXaRr7jDKsL7BJUoi/fBE4iv+Ny+LgFobJ/sP/5TIfga10r9VrU+Wc2Qn8HMDKrKjLPc8LGyjDABN+p9bDDJkBUPhZsf4CzAsIghcbE1wACMgO7pBXkYC/lAoyDjDoURiqPuhv82Qe8kDZUSFB5qjPoVM3OHHdkFbORETrFJejTlWAdjzxhVraf3rEDMenMjwZotVPbDu/Z5QkRE3IGOpzAWoylY/RtZKxlrs+uZ/mFcgYOdTc+8ZnuxStvrXfxKmGevZUWTL+RBBm4xawHmzLWIYwlk/woncw0I8udmkxLYHRpydtF0Ovb0WEjTDiOjJcKfs89D5DHw9WicMaqJ0OQnAo+Az5oSjyQ1NGh2zV25ynoxW9IJhV5Js4r2SQMMxfjMLkkghYFPVNrJFeGfNog+qXeXQSI14xOe4oDgcntcOcyImUBoh0KYleHs+2rJO7ux+D2PjWySAjY+Cyp8MdIvF9IARufDevVBxFFfhNg1zHf8J+Cn4im9Up7w8JQU5xEIcjQBxJPnZuRJP6jFD8q5qjjDFQyM2bnpM6NAZOPsxjgw0oqwm3GeDQVeQv5ucj10Gf81EC0gDSUzokM2PCBDuzrrSeJqN/Skb24Dmm20fVf1Bol9xwwFEtRCH4STJj0h47BBKTL2nTGyVGm/Z+zFm8Y+Qkj06QbSsUC08zf6HVNeascteAJxb9rka/ifx3KwXtC1GBZGsQXp02uWDn4PNb79RVXwWlcngXVDcofyZ4IrcaSAXx6cr9i0cO5xuIauwXHIdmE8q0dbrBWefUaiaDiMToix41FSx2KHoKfqEJZKbLDhXiBPCxEhdf+DGgH8s3vjHx8BvD6H09JxK62M+RtIE9qd2kQZbp8cmPhyACBbnQuEIZEF/YdlTVlWCeb72h3+1emYvjby3/RRxTrN6poiatdI2z7W7gvc4MD1/rap9+V8lzuIEXKcNoPIgnfefZXpTONC4oOn2a0L4i454e62Q+JuJMwdbSKjSyYFtdh39Oauc3ENNwMm1Gih6JsCKPJ/TENPzBDmfhWfwLLDLYUMWeDSaB0x+O7jYdqqd3LGHPJvB/NxpM+HeZAM+n1+KdkmNki0yHxIchpLUTf/O5/Ct0UePPJBkc08ImJTiGjrc/XH5vZ2zxMlaYczcIiWAHlnIz7GZZspd2AZiweS/yuN56rUKH+ipJEO8GXqYgj+FfU7Q3dt/lgryHmgdAIhCv9Vr9opvtr38mPTZqTDAcXTNz7iWLEp/OpuoPe9LrrgVTsfc1m/3JXyXgUxsr9sE5901tGloF+kzy366Spt1/sItD/s8d+u0ANlGPFzimT40r0xDMWcclj3LgUwNhE0xo8HrvtBoekiujkTw/jm7BVvkJRyicxPAReVEnpdyMtzXgxSBxH2u98DscWaHAixDqsXglP+HiNUPgB/p9cZc0k4PytzJhq+pCo98/eMZumm3jO8DCUa57b9dtLK0XsUrjQ7MhIgn9D+j6IxOibXS+nZBIS1pNTru4m2YhT/7iFBuDFAFnocr8TIuHCaKX07X2dIWq8sqtAabkc/tur3vzwyuQAKftSGYNuVx5xUuCCpEfNgcyqNTWYMjWEt5pjl7X4D1ox0qCPi3YRg/tyvxXuTXFKGFbBK6WHRzUuHXoO2uv0twIxtAUgedFjou5yc8VdhY4kcokWF0aGGYtLNdtlwjDJksJdCWYuAAXweMlHwhBghBBB6ZSQWhr/vl7cMH9DgMs4Fsl298sW4MDL+POmaR6WNX8eb165hRfxvDYmXsqyOXPh52UeyY/oRSpnfdTw9HHhPArnODg006+PzOh6M35Rpz2/411g0G+RR5GFPZilj0Mv2w8pbRKyvRemk+D9YETk7k/mc2EQqiSvq+M4Q3j7JEMyX5EprMKjoZ+P1R7vR1u7Tq6kFnJ4RZGc3Gagf/pn79kg7pP/MRiNq46rxhcuv7rYY6AifuxV6dqAh2q6c+Mtiw+3CWcRuHGHYTPGGXuMl5/kCZKskJ4Q1XT6w5vAeM1MxHfzI01hjRYDRouJT0eWIvH3iDu29uEW+pASB2bmiLy/RIIdg0sDf/5OG5J0Mrf1r8iGBadOssmAmYlfC7DljvV31kV9MIVuuiy8d5pjBck9i6uRGBzDsGUzX71NFnih0aUGl+oHIEp8KDoIejQonyvDnS2JQRKvKAXhVObVhFIhPo9RY3rQA9KKUQAycENksLgJDNpoqjEvP4SNyoMHrZ5Mf9usSi+6dClVLhP3AcLDdvXeOiilzy/K3PIbJQqGOJlCF8czrRjeYw3ceVCDMVV783/SuTBGiYjVAHqQYBcrXEWySix8vVioAuQgD/zfNjd93xRGMmGdezFb9Ahgzv4F5HVZEFyv5xLrIMxctMxoYdATi4FPuodj45mra233zgvA5dO5VrURY0owPbYM8dJRfeoXIC8Cnvd4LaKeEhIyUaMr3ySDdcTiSkT2t59xnjjz0NuAwkDDVuqcaeSHQfkMHgMa9VDK1hEtPwHL93B+jfoI/TyP7pEPUPYyliPm4MA0ZgGALdwUcR7yv+KVK4YKADXrAfQWeOVeh7IiilrYoT575lMWPJpXTc+dmhCp8dVILF/Pkt+7lQrizyS+qVZmC/bp0MO+wgeGhlmV3tkr5sP97v9TO7IIzWDPqCeal9KA+WuzIcAHn1V4YHeCPwunC1TgXMQaGE70ncoln2hWJ7qZLxkg0dUJhyo+uPdAQOGbCUh9QsTL8ba1m2uoCnrNbDTKbgxruHPijupvKkEvRklD3++RkMPtdu1ss4WdRPFQU7UieSBT79xd5vmROO3A9PtjAz0b3Bs1es0VouX2r/RmF1cHaHYEh1OIYvQx/TKzvJLgz/m6tSE7uBHRLQTKzkuZmVCMECIvGMHioo7K2i95pSEras3PJTL4x0WjM3oKfjqulcS+T2/IfniVc4ntVw3UGXuOGrxqJPWOUQ3/fhEKyiozZu0nBqnnq5H5f1OekdgCBEwkOSStBG9BypBjIKqS6c4Hp9ZTpyehG7vbn8lZsqD+tCNWSHahIAXhYxFjH6HTo6EaHbw4VHf8NyEokzXTBiP/M755idgNrPi8YYynpYJFK92gYJQV3EWHGGw9SD9Hg4VzaTI4O4bnswOfgF0Cx5RAU45lsRNWN4rsLV5tr5NlR2ow7zg/nUgYE82Odh/IjN+lQHOOE9vORmQOVFkafo4OQdoOjVNKIKTcRkNwpBCxZ/WIeuyj8Fxi6fKRqcQxXjfIvxrYhBoIORxLf0iqhMWzbiF7LBuGrH+VDiudrPrTY1UF86yHEDnJJveYXDZxEUqV8lbJvJa+qK2HWgDP9hXTo7nQXY7Ss7+vToOBhqGAHm7U1Gc4oAYziSTKvc39rxjAScnNCtCKZrOMajUS/Lf8bHqBsM8eU0RRANtwgk6q6+/KBSNUrOjkIv35eor2qzqp15MIbkTpPktTREZGFp1h9G7CkzkoY4baSDkKc+jr1wEhlhvjNArqU9VirW8B52qyMR96kqLyM6S91YutdIafU6ZjbmKCnsHyWCtVp4y9N5ghuYw8W72zRquV9Viky14h8SSYU+Bbi7Qj12jmav7s8sdeehVLY9sr0M0Fa499tzgLRULQyuPAeAFa4u3JGsFJznl13w9iZ54KSvFTB5+2Or6B0Ia3tzbZYC8ugFuSCGanZXP5NvFSFJcwuIqJWjehSUyDdP6mDtFiiSXAW5jFidLgZKHPMbNHrswXPiw9IdNN/yAIh8abeeaVdH4WDB1iMO4SvP6j8FJsu7VDj6jVm0C+TEj+QUMwiJ/FXnqF8T+3t165lWUsk22TM4SDeMHAa+CRCi+HJQ02Rv9jVPMOW7Q+/N9RxbR0kos3UbDXlxRxNMjyrPhy5j4jHYvvt2q7CYuirTQ58tprQ5SNGr/dIFBxTqLNhw0rgBm3VHUQx7gLT2G+Xps7QFc3dVtbKuDORreMU3Rm394bjhjaHul9q4fkBHgizcQfVpbph/iiw5lkXuJeHitEc/EMkVD3SuT/l/k53AwDoNKVjwJM4N5gDQWLFEjvKIfV4DD1M9jGxVCu0jo+WUpDHsuoIgfOmnbH5eBtq+EOIXnXFHyt2rS7BLTof0XJPiSVtkgx2cQUVGcvkNgX6ZAxu+hy2jixnsU1TJ/Ow6/J85E3y/MpC5tPJ5m0aTHWBa5t4jdJhjvPbUxzs4YFv/sq7r4eX4FmkgPLxq94fRDaWEkpsfiVaX3kZIU5cSXcEngaji12o1HQd80m70sQYpXGrt31/OcimEkMdRCk5vVuBw10E+F13rKRa/0RtRMsLm/mo9zTUW9bHVLxuF0DdvXzGkXKKK61r6AT1xHe4bMMpdNUcTqNQJE7tChBnFtYHUgrk682OelO1b7PImjTGEkm1PSgOnxscQ12wyOLyhz8S5ePgBkRKdjOh9+NE0g+06ZlY5guCTEaRUDdJ84cCcGfmGCeUneyYyfYO6x2iH9wgIRxju+tBp37oC5H1PQWv9a3caHh82C3H70DJSeC8pg3tnwLNBepXQCtWjs8cMGb6rOJ8BXWHESE0JimwYxTrzoMtFOX0c2/WC9b0XejtE7VXEP7CjqbMAFc6lyffuTqFDPGN4m3T03sv3VpYeQktFgrSC+BHsBnW6jaSytqn+Zg4bwqSExwsap/hxMyNMUSHn2iwh7ul79ZisEOCfK+V20lijbVQn0V+kFifg5IsLPc8QtqnzbN3w6lQBxzm1khu9Lpv5JkdbmsmwBrAz9AUcbBOh9Q9E15+JYTPyhtT5ksQJGtkPRcdtbMmObDT4CFlGuaqnZOxSY3/Q/aGCgB0qwKLClq3rRBf02bz7pr/qRhcQT2IoGzhfurdr9gacekEXUMUW/mlTwoCMID5r1CYHpjGJvaggXJQWFAttwrEANhdZjCBU8JiJvFvrzaPunl4YTdzbkrKwUWLvaC0z5+99ALv+QKFzzDyZ9p3IrRfci3xOaQSNqY2GD2Q95DnI3jp0N4B+QdY2k6VED+xNM8Joyk4A9auD2VbZQ8DgYQpsVQEIlIgGsNqtmS9WL3ZsvvYaG7UgyTTwhvO6bFr+kZ0/3yIxapuzhuf2vBQzyf92JMRDBG+Ztfnmdjik+r9xYJT6cy1cHraucSoqNJ1/fV4zQjvVgnChev6PlhkptJalsXq3zueXEgWWl5fVQgoVosH6yRRjGaQG8DNxcTm/S2vYbwaoWfafhqU/6a3+BtlOqLrQE0FubJiS3WhCrsvhEKagQtvrmZ1AlhH8WkxmMcZkb7YBakDMpm1keaZ1U1DD34hvzjD/Ta5z03UoMiw5VOsIurBnXRblCTqeK1HX0HOT2okleQ862FnK6PWw3D8LNsffZ8wG+UPRTFquJe3pK/BNbDAzD1tPsLAfdIJlPMe97jIpfva7fL6JEwtHFhsz3S0+lJ9my1NKu7vnGdB5utAMHIj4lkLpY2+K6Na7S/ttqvh78fp6uRAxFiQ6Mzg6t+YEPD+s80Z7dkP3kk0nK44cvdfK9cD+HM8JDeBl5qrK+Sw2sowMYhwdBNgTgOFLtGC3Tqwq7KVwSVPLKodmFgS2feH+uk1ydbRFW+/4cHjYRr+2hrD51Z+aLu0qt5chBK/aa3QWlqOmxFx2i9KYCf7mOrja8oQHdIgD7KD6rELAoahylI+WvHD7BpcfKsNa5NHfKVYz3EcuzhY0pp7R2A6dL4r/SqLi0NM64ZI07NU8BKgO4CB4mZYp3NIU3rZynHfhIkp3izl4kFxlx/dnfPu4DyHMJOZIHIAQfyjfDTly9XgzJjlrRbPByZLcNr0oCBoY7b3t2lIESaP/99op0G61DR7N1XfrQ8j1eUrWsdIpBFqxOgoOXbC1dKcfdV+/RzG7priVY8pjepXHuS8pRvLRd7rlcnSKay74Ur1OtS4UOHQVegx4lkEulhw2VWwQoq/HM1XtnF+JhEB84B6zrUlWVKYm4yTCyjlPXD81ZvPmqEWAU8ALuTJMJmhcb3dQpqzYRbx98CnDCjiSEVchY5aehPxGYWTau1xcvGgCFccWvIL22FGXoDL7xSvqLPhH23Hrb+jGGVHPWRlea0tf3mjp98Mu/Y2ftOR4LQxLMCoHOVVMGGo0P/QbdMlwa3JWPkOFiDxvy2l+1EH4bnfekYOXlR0mfBqcvWXWXj/g1TCDpYiqOw6jG5H3KxxadijYxdo+2f6SU8xBPOydUsf41HPKCkrCqWJRkOaFFF0NPgfyiua/okzJM1Wa/+KA3eHAajuvE1/Lo4CvC3/VPxcyXlLufnJsJBBUB0gM4m1GRoaqaxm5bFCBQIEzIkqlHer5QDW4Cy4p876RokRUAJ9fSVplNZscM1RvVGFpEulrHMZrTaw9t/CzXNtM1emkteNqHC6RlcxTWA2d9uusXKB2nMYh6zjmPZfjFN8zYoRO3Pb2umPdFJb93DwUbXgqNnzzPziqeV9ueu6+vK40CPZ/WcJ5RZNg23ZuGRD7rm17sturag+bLoGPU4i4BI7bukDIsUXjX0tjRwxow5COVECnMqpvhsZ9vJymMsc16Tqg7bOm4pnwkp+nF4viWOe0ngxhLhCQuKqS3E3INd12OAxEybqMxWPgYj749BPoz80ude45Z4m96gxCUgbfElwtsZJq/2/5L4Tel4tI/jdzfPjRS8pyy3Je6JiRbH3dQGEKa5FEExP+u93u+rzrqXxd7FaiXM6XDxv++ksZFpy/V9byjAGdc+m9PncmRNULQEHUWSHbZGcZBOLBHhlIqJ/6cvGfJQnAJBk1hxq1JQUJhSGuOQnLZGC8NDozHezdL68CLSXUeG8SDd+4z3GurGknVR0X4tA1HDd5Mx8Cji09gNbYmFbdgc1dx17k24k2kb/WHrifgA9tbY4ibLK/KufAthlVC6u8a2Jjd+8vEOS4UBXWjNA4sP+sukj5wa0hYQ2Zj1xYVJVUZefntsMbdNf7e1ckejjj3mNGvpq6mwT9Krn1W/eodrfEKYqYX3+yR4/EsKezCJzUeIQkUpddz+1xoyp8FQa9NHriQSdCfsOhiAM2mLEUXeFmiijomjmv68tlCJM1dAdeYEwHRpG83NWgh0VBxHZxTvgZyQsWBxgj60bBaMw266nVn5aZbTCNwa7Fhr+XlvvLudCGDmy2bzzVpi1kXvwiuARilQQse4oMQsiELou9AVG0fVkRvPEF8g4FkCkypUzIIgy1ApqbUb5KKSqp7HBodOde+djIMTJqAWr+7XT6KxtJ4DlDxpWnLj9A01MKTuuOAJNnp4hTfX3QrmmV6/y7NZSA8oA2lRs/QJ58xyd8oN8LCs2lJQuwNRX1lGDZTJNDJqjKWLdZSB26yKob1EUg0m6M11XLpdrj+QzYr+YpLier1zGWWJhC0z/6jQ83WAs4pOB7g1V+lNN00bNmgWyXGh9oIvKrpXMB703ZmEmMX+ZDzPpy1cJSwnaE5IvHdXx9mzK3iPtE+Df44PMi4L8RjQYseezC58bekF4gIB8mNe1JKxHFSYFSPltY2+Un8rSoYYs0lqe+58tiswYms1uXgMHA+Y9e0/d5NzvpmlRof+Rzflqj3PrgKF+vW5Hb3fDg0erVCR9u9A/ea7uC6IGip3WLnBMauqaflkYSCw1xCX8Kfnw2+9MezjxfcVhUgozD+Pm5Hpmr9AwuKHbr0MKzcP2+mxrLqVxHJrTTpxgaS99s55UdnANtWeYN048kPHMgdQljaB0fskn9/3/fLrxCoE1p4qrT26XJmcva+cZHK+GXFtG64QbQnrBh0YN+VJWJQB8l5T5dxjdJkvR8TS1yZ/lYKOyCMhOjxdzV1Oi+5hPSkQgmbHiaPdp5ie6YqAZDYbm2HUVhtVSJTZtJgo+ylORHitOOEBXz3y2WznWql7RRBpX7zqQs/1EIZU8ITB4VLcq8tztTu1/+bNKjNFDq5V2BH5lgaLwZZXzDIl41IuKi+LWArTofGDR9+KYsCBnzZROzHlumCfuqwcDilMYaMUE43UChHFck2cNk3r0xe7cB+680sgmTWHWrZIltqj/RSR0iNipFl4Ud5jpoQ9tgfpWxSekwgQeQS/ciiioeT99fLbUOKzgnM81ocu/nfwhcGbUZVfOwTRk1kKnTcWtgWhWDqowNU/2W6cmlVC/4qO010VIiY5atl4AkXuH7cxRV4M46MM1WOUgR9k7k7X8DIMDsQcnEkaso6qST5iSvTMGcmwfiuj4p8Zp9wnDVCKsIsIH7/Xg+VcqAagbD6rfomtorAcPPGHTxsowZaWIXD3Ftu68Olll1ZUkh4vHZdjFCsz508Emrk5dIaME3spxFThYNpVWQiJtmYP0b7Y/omXhrdho9XvGWLpRVeEwUz9oltvcpSzsFN4h0DK6dD0Wlpqm9F33MHUg7+Kpfm0EPr/Uz2blOvulsLqSi7DAnHersx4WYgl4GVkls1fMzGQeBrxpbTKHztglIfQCOJ7meCBzsPVs7kFMUPbc/hGyKFviTgpWjP3PMQYp1S2TzPSG7DGKBokT0GiK7KwiLEVYpTDstYHELOmW3sXfSLE6xDP9TLKWXgeRkNCeJUhHH1sLMyEvSOLk4IdC/YRmISOHxgXrNfNavWq501I4YTOx5GrTaPCyK0tflEKtweKthBpAdm89QH2nW8nof3G8O4U1txOnKOuZcT9GHJn/tIdTJoNFaqPtwg8ML3WmrmhorDh4/9/yd1Jt73LVZxqLQ9z3fm6Uf/C6QmC7YARp4SrePUX5c6JFWCI+Jxh0cGwqaxMt2HgA96k0NpwwsHpNN+tqkzKuF8+g5fK8kvczesDVzjyJOpsmWKVMnMe46IHqMg+uHL1QGw+fxpEjai0fsMtlBARz/zO52BwlHid7a+cC3Ch0W66LATHRBYNJ7qrw+xqqnpJATVV7x0/tF+R7kBsUs+dAVbhmQ4v9GRp1/mtVsIjcEfYVXGWthWUjEDS0i97gg8PJnQG7YK9C2YB7yifSgBdlIx9Bmsx/i5jMbmZkozvvELSSK0XQENgtSNTtrrDCOUwPvplX9fYvEA/2MVb5MJWC9Co70nu/suFjrW7y0N2iVIFWzTzHORIxYPACke4di8mIjxye+uhDR78OSs3lDQJiR46zE3pH/gNZ5S6ocvlxrQQBEv4RWLO6N3E2X57Q+q4pxRFIbb9EsPuZV+BWgQMa8ocDOs8kgvG/Yg+WlXt3ajJd55I5KMPG5DXnfx21YUXzFTkI7qvqgDVEPASyV79dvSABeyObj1stpcL0ZtgxHm4dKw6BpYE3dN7ZQs833yA6zd4aSCCcXSOk+BWQA/6VY80e43HqIxUGm67nwAY1Szl7IWGrVUNLxIeEzuBD5z5RdWVi3H/UAzTMCpdHsRCPvdebd+tHAHPAXiHmY2abSIyazfwFWjY3HXY8PEd8fgYJ+5YXtvNlgZGR9+QL8+O4WAWIdvxNb61NdgyMbRRomrlq7rttTY76Q0c1bie/Tgpb26edXkei7b1aIux+YtKTBO8tf0e4hzb1p+Ykal2xL3xBNtBaupOzZcGPf1XLGIPC2o8tGBAkRn8QQ+jWVqHrbg4OEH6Jzq8Fl8D2pGcltRFX092G3U62VUgd4hzibOzey9tB4ROV/Sj0fENcggi8jWEc+15IaTgVqL5MgMi7v45dUi3dI3A8F5UOtzwk5EsSHog7X6SB6g8bCYjIrBPw+7tLqTqSEu2XIhN2TrAUuZqOl5/MUFoYEhMrdmA83fFqqbKtJXcyKNuLhhdVYU5cmLFNk1U/UcEjkRU4wCGok1EszErqCs1SyV/6L+Qz8g0yLaMFSd8aFynTId+6xhau+xHYVpI7vIecxXjrarXDpcytWUAg1lIyiVsoF+gBZngc+mFCva6vQfVDYrr7/vjrTvvor9E2nyhFzwXto7V2xZlp83BLnVhEAgLzACulM6OWJe46K54Nk+x9GfLyXYG4HqescP7mA3WD0patfGrlRKwgSzh/NaCkM2+OIA+lfytxwaTdqNjRg5t3XRQaaDTqDc7BwTAA/gPbdHDEGyezx2DZ53uZDShD+kXVY2tQ6lsN+cbMTIxg6yQj3vOp5Wx3j4tD+nn5z1pAji4h1s30iIIBjETqMY4khX7T6bbpiRrVyzyNP+dIvPEhq9o6UPecb55VX9mt0sY7gdPiRJaNyzcAGZL+xAIHNWoesui9FTw7cCl/ungi/3NU9GEqMqy+g8iOYGZqHEGNOwNXA/WJ6iJNr4KgtOrCG9xhcxT5YOBJvAlr73UJlbEk5K7PN8Yg5ZnwpYDOj9QDbAyU8L87kFStbswNMpqYO6hNCjcEbjnX0VO4uc2NQRL2Id3Z4xYkAWQyDVJo7BqifE6fX1EBtHzK7hYIaJy+4CgUx+6MRDkv/KP/qb0F+6ts8RjSIIXUtaTIl8T4i1O47XUzz65TPUWCMytr4TVSBhoGB9CIKOzxi1qVkUmzCZDJevdkWeFEGtY2MB93x0QtMCXlxd6y4TktfD9p1HyOwoxp0OR0GcRAXqA1QyLSYqqQnS0cqRxhGKCFOoNK9+gTFFI8ITLQOu8XMa8LHcshIqhl6G4LzY5O37ODLNBnyDRUJS0wGxOENmZlUZeYtwJSXt3JEfHsEuIOqXHNT4nffD9M+a6vc2gyuM5HOiFO7f9BL0584yOtp1k339nsJQdVJINqBiA+VN3Ec+TfYB7QqEWpKgPy9O8RWRmNOJmDK8LMIISvLbT9BwFwqW72AF5VUbSGbXYFGUPJV+XsimQnuvWaiDPrExHKT/dgCwDnpUjXlCdcc+mWXy+lfbZQIupsU/p5VRRzI5zxHpvoIidl8d9ddTD9EebodO8u6BfH8GFFexuoWz8lX3hHfPZpt8zkDf5DhkF4AAv+gL0muKLnjPKq7BMhjp6SJimTt2x+eNTVgltK5+eKfqO/rJKy2a2QRYa8pLQILh7r1SLimGw6w0m2gP/GR/O0oavuE/jeMjzgLCrMO/nUclgdMvQlrjHzNvyqAIccqsB8GlfCZWBZFkYrGvbnGsLis8H9W6Hg3GXkqMJcfp1IMedtdmknB0fYta37gmTi7O/CtPkiPsyNmzS+pdpMWPL3TTksSbEXtouv2wZ/6LxBoSl87SjRAU7bLJif9Oyog3b6UdkSIJPjN2bowL5OmgwunsnuOuxEPeaC/y0ym1GpGFYVnDi84Ma7qnEQRJ9yDFGnyNaQ4gBCoDgwhsd5GecKhOxrkjwz+nPjveEBU+lvOPijWGFms/XKfmdxadY33hi6QoGfC3ZFIk+phCsDsZR3k5QpetJRpQJ2xjfZYjMq7rpvVZW3jsC8SI8SQUT/lJBCq+xFcW2wFM91wwLBJKnaN7p8Y+DdHD8gdi56gHAFmgHBNGCQRQ/9z53uF3krhzBy+CzHQUncTN2DIWh+dKKklg/L+zMyLy6SURiUHkiYORdwByQhDDzrKAX2F33Gn0QCbWObuMNzSextYTzSsL0uWW3PUfE8upIENnvgzly20WbvyOeHEPiq3Caw9qxkHwfNOS32zQjJc9vyzR0oUH3ap0sC0zddrol9hmBULDnGrDjw9fBXkMc8ewDqRBJBFl0nvHyY3qlq4usBUQvsCHsotpmi+3Y5A+CI7sFOl2AlNLOSDSTwQeW8QbKj+RfhlcR89fJyWaucv4i65E5quwtdpedeaCRPK0QkjpGUlOLrQxa08fTquim+Dk8usZ3RDlBN5oykBTDRsGBRmPx3+1L8BahGvIDGsGIQp27TNQQv3xCQFYYfsjQsw7hxbVUAUmIby7ABfxfXhJZ5YlNHFf7QR/bHxBBCoZWpo6oNDHWa7aFJpLsUxVzvAvbIA+oh91MsRZlphO9J7emQ2jAiT8iBURcqfp1qJH8NrjtyWZErpfTJZgI7e9UpK7XLQXfDu4a3RZsW27n3FavyVEvTkwG6ey3kfj8KpN7HzUKdvtfpdTt6jPCmqGVxv8uVXx4seV3/Y3KNa6oovf4nmoCDpaug6E53JLuxjtYOYz7AkwAoTUv5v79IScANWg6RClqrhuN2ZEYrgdiNDfanuvOD/p+WrRBt8O7FP0SMRivdzOTMaw2rBEr2Y/zuY1Lh6uuoCFZEf+ghRB+nc7ykSE+b51XNv3phkZwkw6szPQOHK+DT0Y+aFK94Ea+TdRB2g4T2B+KJAYTOJs/Az/z5Zx9WVjyIzb/JpEPyNLF+1NYzV4AuPG882QZ5vBprdpen9dRvqezq3PjbsZVyZKx6OzL1p/9gFdD/ffjST7Ko3aioI1xWWlTCbOvgn5CxWgYqq+xy9I5u6pHjlI5WLwWC7d2HDlRdxa0u7eZYQdEXM/yzSJGxWzbr4Ak9Nh8Ik6k8h9ZX6MUPH/mQ7Qd/4wmv7cjmCuvLQnHYP+a/dTBirYPuEHehcx39rBSoSYpdgyvqfZw/4jUh76RWOb08LdyrmN7b5YPgKAocp55JYFNc6vPiRUlk3Fcla0fZidYBYGACV+TwIiGpPZ7WQV2X2DP+nYxLaR+EkwNtZEPqZ2PBZszeQqeayKag7olupXHA7w3G41xnH+vbDO859bn4fx/Uar8CbuVdw0miufu44TwmFxhaMlveIrJzsoV+6L+vF5VcsYvMd+5bxMy23P/GGdde2CPdpAPdtkXV+noP0cgPvfohtMV4DfqCSIS+d3WmZNTpe8lHVTrMuTo38sCPeUObz5hLgtwjwk2GrOdXMV00JDeIdDKIwMzoiTLI49jDVkLTYuIUvB2GJkKccLmlhYjiE7ztFzreP5Wsw3enuD0FDcWWnRSn8vulSX8h78WTBUxPsg0Po6hZb8V8KkZctH2RnjAuS9l8y2cVoPMKWYpIbDpVaPK0D4js4opsvrvpeQVNQuFOrngGDNIkRAUOyDFSWGP7cPbGWlgMKXZC2+qe7ICHs7k3EifJDMMlg7cu5icFnpI5iRnuiL8IbM92uoisg6+wuwKXydvSKSFBYPikaCLirVPillTlRi2oS1DTwDU2WjiI3I/fwYF/qqDyUJA/Mf6dzAvcNNlwBmTFp6pwrlEUtrUehW3SinoS2eYhWEG1Kb0bYFHw1VvqGdW17l3dkxsc4n5Vyr4RlIeiL6cEjZpHkT58YOTF+yWHSbo40yrLIdv1mofQs48OhjEaHbinrp1fS+ICH0hPclJME1f2BdogRJSihiZKLrLRZDtKof6fbOWBGrjG0L6v2fuHHlC4s8IExFaBNgU4vsIBvz/mkuZVp5yX7nwYDWco0mOLskacmU388bqgQq2VKZlFt5XRh4RUWeXjWsQ6vH+9JWfWZjhtXQEWQ7mD33PXGUHM9NKudwaE2mnJ+2hT6t6E6DATRil8FVAcAVSZM8fq2p9olTuNBlSJ3tB4gygB94tV/elfoFfm4b1pvOySxR4PjLEZDtmD1SSxHMcVg7rbHzHbnFpXBj/uJnXZTAJOskEThvxpx6mOPRCBQFu3EMLUkiulkKga8HYIpcVz0Spgn7nEmHtwS3hZYGEwIwSYSvG799uhLx2zq9rteFKZupcgVnNJ07lRRXtMJN3/YBPyahQWHzGCwtnaixO2Q+IBlWR+lgfFxqdJsE3/nPd6HaxUfVWtXJ/Z0koJ0muJVR2GWMLbrBANR8NPtcmZnDJuzvzWh37e3k2LGWcXAQ+xybq0MrgCIRIn+6FflyOV++oA9ykVpD/ErTIBsO4HwIJd3QFxnC65KArQE82EumxdAvhrz4n+PYVATheQ81AEB8eQ1lVCwtTS9TX7kAHOTwCvr0Jyz479cW1CTfecEU9M5r5YVsGEd/lNq3TPOyBtyvs6JwDDLGg6G/iQK5TjA8cZu2sitKn/AhKqklL2/g1gnA1/FEebHUxP5GUn3ryqFFAWZ7H+qDqiLBClbA8u3dYCUpQ0yXo9Tn7y7WN+T+jwRMsMXOwFEuM0D4SevFpr9wZ8LGmYP3pgNoO0JAmyL4MQZnRjDXecMEQGwjELuPLfcSeDii1Hs4/NupjnxuYlA+eMP5wjm/1e0l82g7VbEJ3dotJqQWJUsLeKBSy3bJKgG2gnnDGe4dQNi1JVtjgjOy05TUzfbbuhk7LroQ0f4mIam+lYtApZVFj+oIQPkeIAkea+V+gqe4eUWu5BY4leLmG8A7V/C5ZBFqJHvLI8joUwjMH70CJIOMG6YovNm4BEFRlFVhcFPDS/5gc33CA8fgtOOIKdsZOfRlDKrmnJAjCniIKz6px/sLWN80Ih2jwaATDHstDo2GoSnSFAA8n13Sjj+NskXOcTmMrGSgZf99ey9KKT3Q4GZSbKdlIb8arTNRKkPz1Ab96PaTxWAgdLZ/qdKtd2gZHV71J/ev+0CXDpVRkwH08JkMMNZNWEBqp3mHP+/0GvS3G8V54chit34lacruyNjoNelIVVyQ+3UPvxiSoU8ul9CKFitxtS8tL2YtHDBqLeGvL+iIBtNroph2p5/VRegFrkBHu5Xj5DwYoA/OD7MGzrTQg1jqlGbY/cvRKMWSku9WQBDy2slemsL2SSbf8b/4uSjVfl35tygTIzsITwQc5MFX4SYmHd9XHGeCbiYprXkFNlHeVF+hxMl9+GtmkTQjfuIMrbbC/Gluu/2HpD9vvAlG5QeHWdcs7oQrdXhzCmZa//lLt6hdn0waLyV23F46uNcWTUOKzlI3p6RsKcSNcIiZCm+uEGU3FCl2mGmLDFI9d3Y1gWs6OcnoqGj93fjB0j/brMrw+tQWNUmHobhdeSdzNz9TRatKQGJdTJq/BCBD244eDn8jCw/cOOpwy5OlGFm3A0MR67OQPnpV7X4u2dT0elDKSlMFWL1pJgcgLJFxfp68VoIPmOCLHfyEfN5G+aF8Q+Vacf4c5vsbXFdf9YrvZXIQq3ni8fX7VUQ+LaCg1UsA+5Nh9mWPo7/F8iryRMXeCL5gIzrX+wrx+drf1HnPU2wvxcS08JTKVncZewFq2RxsENvnD72C08evj0fNOogKiAVa0caB3TSBBpXDjR+8dhKTwttSC8Fllf16Hu0SvYJqPKvq8SAMRTioGMyF0KEVAzr9dQg1GxbJOliF2FA+b540j5YEQfbL+t+FYMsvs72sGVnQbnN0Yw/b5+HYY4wBjhjxkhDz059PZTDTo9o/gO6LGRRfaqnRKyQYln7GypV4bCtLN6reVD+8TCPdVR8GoFCsMhXXMoqYfJvtQnokg3pk8VfXL+ustBDpWRZwCA0l0MZsAevDcP9LoDqGjOOW4ZmMcY5rqwnk9fb/oGdqgMbL1s8XnogcL2le6XfqVKyrMiE5+sJ9ajKcmkFFHsF+kHk92EEmATlkveyhjBVgCBiLoekp4mOe8gYCoCWSPTAU1xMH+6iVj99FU79li17PbiTfitnKUWY78bvy1a86SZ/She4FQPVq6MXgz31Ungjoguh2jDjkKsXEf7W/1hVZH1MQ98Fj4L3HK7sKlfJaEV1HqGoUcFXygkRcfaDRJgeMjGNvuxbvg0W7lqICaNS8h52tTZ49wwegFlQFV8Vpd7QPTV7SflMEZvKg3t4QqUqtZstQHn85s6z1N6FSHE2YPb+05ZzM41YtyzRsJ/ytbqsdayF7I7s95oPtNJtHtcY4IYZDp4//ZZ1yVzNEENdsw3hqtc22w5rB93mUhpMiA54a4lA8sgDi9kx541F6DJbTCSqyL+w0/96uijiMIbPCtvcfCq7AwBibkKA3FNKnaer7z/1SnxHPmkuekQB55nwkxey+MeXsgyhOEv7VG4+kUVIKHMynOMl43XLsBOSI52nNjM1iXutbvfIWf9hANKcQOqSVb93OxLS0C5eqXC+FHpzAT2+kTFO3L/+0EfSERsLWiTgjLA7yskZ3ZGE6e1awAOrK7cBoSliKJpgNd8/ywUKmrN+T9hwxO4XWuLTiWXQATx2U0+OiLjTdMItOXZHEQ0AXKa2tv6uFWM1dZ7a8ktA6SaH9BnMHhBmtEF10OZbpSZFWXEpeiqrMkLRJTiExCMoNGPwlicq0pkGapZvslw/gRqa4JS/zPHG1I/2lCaJjKSUjRnXRR2wg6T1CCq6U+Cm2ry6vXDtPHJSwyAWkoItcCHIO2pM/y9SoCUS9lccGNXaUUHd6gLqdi7IDjWHvQpa34ytlFc/Qdpne30OC1aTMKUJo81cXea96oQ2OYDFx2NqArv78TQT/tlGhZn/8gRbHZLQC7zH12HSN/XErD1i1gQnRGg7fFr0t6zO9rSn72aGv615qGNJK+rdXapjO9Df3wobENNDClbjxhw9uFqDjiuWXLRhKxWTTWe2aZq+4ySYBpmMNJ1T0Y7JXpUx+lZqsVVGkTz7aQeaj+o7RmdAaCbOIEkjHW+uy9kOZ1mTu2lsV1ycAIPW0dbQKwXOQrXD8/+ONvtrArTt4j85AMBV8ISMUS++BXlzNjNkHG21PWPN4lZLGrzIxlhHLgfxllZRUAts/AYF77zvr1cqsgOgIj3KpmMqJ7WGJ/2GDef6e8Rzvml75rS0zO4Cn+Q1vKgIysoA9r38EVnXEg1v0DyuZtcEHN7r//B0fAu/ppYb9e2/KVTCjfF9QkuXtQoh8CrWZ2uF0c7iS+TtCGBUJoFHDJB+XeM5FNdY1HipJOfKXNNLSaLAhxkIxsRQu3CBiGMIM8l6aXPk7xe7YLaNXpkCBERmqxXzvrkgNxXw9oNuEaqGQ5/PAcvHwo2AwzcDv5IRK8X9vXNMFoSvwdIQpLqFEWtYDUSaKxTNNzNFxJX5MAB9j2eT/phmKn5i8UFzxjXYoxWF43ca8ahnPb2lMdY5rWAsb+Q7eyo1t47H3jZrU2erdOBE9naYwh5Fcugv/EEcEyiNMbUd5u4xBi9tdN2tyJyjdUZfgYo52GzubzErSvTsAEon/TOCyJQlBkWAKv7wqWq61ukQteD0Wbqznwk78ehYJto//SQVBNgXJk94FQLU4zbnBTLycm1n1eDO9g+9+gEvVhDivS8ys+nG6zs4CvFHOWYFfYjOOoOkNi7FzVNOGaprmntSqiYan/AkeiB+eNCq26/76XBuJRs31X8I+Rr45Amm1lC9kBSWO14i/FJkyZ/m3f+BaIw/N0xmkITypyX+s89g+nnBwckBydm1VBueEgYGVcEf3YHDMswCQ+5KPmcwp30PbwcQM6CqLeT2advT56Olj6ajJsI6P4hPudusQmLx+vKcyfjOH3HSGmbzTgaGlwTpfvaoIpzrzxrv7Z5fM8qdTuDuLJsu/b/bvpW8/ZNpjwtc9aIJomGv+ha8pexGcpONodUX8RhfqjHkGp7uNk+c+Z3pcgSsVXGAHbonTp4oD/ZmPwGCKub/xOHQlA5h90t2IqbwJkkbr5H7d7dG4/ctb1SgN3ASvQ7XjrOJJx/ZDHmGDRcy4MPmtPNxHTjqA2DOQhgX792ReqrosiLiAoBjbX10hcVEPKq7rDfdYjE/8PogaCFxJ6/IMfHNng8PSzRGkw14/xobKqHDbubOJfRhc7lEIJUOEg4sfd26UeEN+JpHctzchrzzCAXfWB9YNq4DnjBQQzhVzX1Z8Vivb5EjgQ8NReRBAYEPKxUb8TEcvURpyOw9ReyDFI2GJ6bmVosWBO6ciRLQva2QXAVjOrkyapDeMW81XojEcDj//uOkKA1GcbVssHEqrY+Yh+CgSjsLZ+wXZMjL6V1NM0Z0k/yu0PrDrz8uXQR3anos3cG0cbTb6fO8AKgYk708tifUE2AaxyLidzrk5UPa+85F+7caSQCcEDaMVlVsIuosjkMGc2scTnIAnD5ALnaOa3rla2iq02Q1mk4ERuHGGFE8YoOGRI8SfrrtTHXMjYTBl5ASJMhPajLjC3626LUUL+OpMKoV8lAoHrdj84+3MnO0zpY2HyLVTcXX5One7KFLRYVkeJqEdmpq4AQHj0C5522KwkSp9mOKowQs5eNjWXMag7xyHvDckeOvfcY9IMZI6CUMNPvqRPVApla+6zQiLzYQpfPiNOdnAAyjQqB97cgPjWXXndMEHrJel5pa1zoT6JWqAdTgKnVJAsV+MRAM6ex2SSVojhr2kNrplKekifYlHKI5SKLzP8s6WhE7KJG99MSR7uh3KROsbYQOgSbqfL+/0dO6GeEhVKZyyXyzN+4MisjXA6GkMPvXUXveKKtU7y3iGcNB7JXkcw6p9AwF8Z6bZrX+hEnVd/0rvZZ8Qgz5EorRxrsBZ83cY6ao4//KZSuVJOjRBtKWv3hAYuQrl6S1MEqkdd4nLDvVJtmEBReHZgZW79dOHD9ZPuCq+4apyggu4EYXF4D7x/xdiQIyfmg2BvMixuekNw3Kyjdx5M5QxrqYZBVu/TUAcr+y4Df55g98PIgNVWKZ8HN/Xd14py2nBdiF9CnEF8POCDHA34UpmXQhMTQKPx5Ar7nOpdwEhtoq9WYk3GW3OHsOzOoCp0RxXaicU5CpyyU7wc+74QVu9y4HoI7UwpwdrBmdFbK/vqyzNb5R8gzTYV7mqMleg6DiHT6j+mhvOaDj2ChmCckT8pZ8D+Jim/XiZlqwWCcbDrr/4uF702zrXUFJ5xmeEmr2zeHFXlAOMuiypJbEEw8gujnHU/cXUiD1SDDl5Qi2YwfICWHMq+qZd3hHsQzse2UNzOXiiMj2YCXWCwfFmsrUon/inF6vA06tBJba5krwCX+oCqzG8C4VNGxgf7CW+f4JBeSg7qcU8sjCoEX5QJ0RUnaXrUao6DyUCh+SlpwYbxzKKXGfWAmIfeH/c9Vd5wHJktuQEZ5DGAJhVDz9S4CR15DVKRtICXL7Kw+9HXcDf9DA2uUWgQ5GiUkszyH1rHX/RKh0QR0AzfH5BKK+SYKqTkBKMZdKZrQK0EzzNba/L8Ec/popaZwqQpoIwLs8qextHxYUFYh6WAHHn165eAb9QHkTUE/4U0x4/t/Ufc2qpbQFPdWO02Ad+ai3Lfxr5A97mapgycWSsaG9ZqZOsezQHbnWQ5wiPZxLglbdr4p+f1qlQVBa8JIdIhiLMvFlA5QaN2PsSvdmEYXsEafmLbAiibkAYcCax2nOtKbzK4bb3gwIrwH+4dEZVnD7y93gz8ngkmfFA0T+ujCqEG3EUKTu/82jaiJNtrcXHea3uuQhQoRpxAZuJysaqxYtEYlOjt+HXaDjmvn5xqXaEGcPcrviUcp9rv/1Dh6XaVGnvZk9wYx34h89DkAwPG6AzGBVo76STsAy5ZfAlazvQZ5LUZYxhmuvqSbBjtoKU2TuHhOaOZtTv+is4hZijthaHCtpDxb03CX43rrkvBM/cBgv+0tc28fpqBVvNSMDfGh2Mp1apPPiXnPs6DIm0fG+fTe7ydhm5pZ6yJeECA98vmP6kv87L826Un6ZB6z4vIMmcz+XpkdnVwoTUGx3YksD12YvWWKncvpPMoOF15v3YAJ5Ztf/O5tl/dFGuEe9J4w6Llsy11ZyC1Ru+vLGJdyNvqTeExNijC8sUAX15xFAG+OVD93SWpKcDg7mAX122Oc/Aiw9v6DC8A3MFBWbTTVW3dXFQVHlrzLhgJnEf6myp8WZnYcSedQEnsKs6Ui0+Zka36KimtwmNeHsZ8K0Q4LywKfCe2LGexvPeOTU9YsFbeFSOKFoe7/3WMLHZBTvpm+LIcZYHSc/XKrMXetFOM4GOHOkHbld3cYbORwFPFR93SZu2UpJOvEOcD+k014sgV5yDzeJZTXa42A4PtY7lYYciumxEAEgPa8lexQKmpnVCS27kpGYFUkTllkDGbA1bDrf16Z/ZnqEdfwz6wXBwCMxhTkKVbV5XVEgxZuLNkyArLvV/BA3uk+3ZJT3x3VR/FVDcKe3E+VVSP7ogLibUA0EmjVLmRjCL0TJI1fw2adtpUkxMz5ZMFAgQiPcurvQj3DBMhAhXOEjaDbCB2OLhwdR677HyGnc477+wQV0k6A/NDIX1iDbkIeugT8UQ9jtgeaVn3iVYkjdjDaAb/9839yWdk6mZ66c8zEMbvbCBIQbZmFDI8V3bNMIPgPUw1LlPNv3XwLtFrR1C3MWgWC6X8o0y64oSsOAP59o3BXF5Q65cahZ9SWIeiG3b5WQhDTH0eUhArShKlikMoNq0zMXZkv4KXdAqJYeYAtfE/HfUVezv9zx5CY9qPigBUL7JcZs7l9Ub68/bmm1BMuPIdYa/bLDxDqDHCXDsWWCBuj3xTvmCEUVLS7BqqDSoUo029hheeq+5VplGRE/+yUUIFr2I7sVifbv5s7TklkxP8zTCcSMGE/z4koI0Yuyxhi76pOxVW5zVK02L60HI6mCXMsdTc20t1rZTvKoH980ep7n9gs6CpY24+IhEML5ft1KjZ7lLcYnZidRih8hYYDGJnkb5SuDp9IwaQiTjt4R8wW8Co6cFKz1/iMA8U0GxiREjWBBbPDrPz7v4dzLsv7DS0/Dxcuj7EaF+nOwJ347Lx3dzl4hmU+D5ZaLykq/zoDQV5MThEM6yWf6CYydFYUmDX8JnA+QLDdYkz8ymc/L/tB1ii0H1eiDImx6fF+50Kjh7GG2+OsCXovIp6ka2nQSlEohW06TEQpheTwX0iSR8rjKtKbcrtv+CLmHDP0rrJ4JvhAfL4ktTtfzsnqDRc3oPcO5oPfoAx9E/kmZw4obEBC/XErEbiAGiO7a7jD3C+XUI8lBwYqnSSNOmPXZLt+b4hBB/ibqBLJFEBlpSqe3wd672ZtCnBvMRxOsgjISspcxwDLfwShuaRtSVKRmlATuAS+Nyq0jLwyX9JFSm7PFyyjkDVq7E4uxURebhRNa7koudtMwXJPxgQPp9YGS0WGPRgJZlN8LEIDRzcy0YDxPRy+oQK6RFpYnNBO0gviZVbKd/pIzPx0kKjJee+6HknLRYXsbFLeEYYdVpJlT2JoC2fV39sTEDuHgbPYnO+/cKg9+FJ/Sz+q/pwav49Lf3w22GfaXoeaw+PU/sm4AH8T0NCnkeqblINi9h9cXyRDo/5MX5YibmUibm7X6d+V9nzQcODaPD0tV6xC5uctfcteL+opYlEk56kNuZZ4qNNtIDT4jkVEymyfAOPzz3p9SmVQcqICo/nYmkgJ4svV3KXwjlgDQC/K2WHdgbGq+PyAJ8IsXtbZO49BsEo6nR/fpF00mBw0oktuTof8kXMDM7k8zQGX2Xo56rncfUJk3bLO/JSe+UdtbWLpPbVPqkbd4KgpOeysG8OKRHBdW+zTgCWxhLVxEZrZUTBpm6oJ1AsmEEioTpef+Qa3iNnZQijI+rbIomUByFjh0kZGYFuUF/FMw5DKZwGR91CyWod8+fnpOsHWzgxDXL714WpLp8gQ4tlK9jDVKrCv8rWuZZAwe+0iYOeP/k+LB0FqYsYkC9tJjEXw7O0mU8SLYRiNuPn0nj20WdmeRcFHWfKT0yyOSahFzkFk9ramLwYipKdN6aW/F+FX5s/ZpvSeFklWiHeE5TEf8YkuN+M1NvB4FwE5Gdoi3c2LJ3OVkqmIBwY4MsmykpLfAzTXsFZoA505KUfQpMbAo6XLITTCM3Wb319wndS0xmu93rj09L7h68ldKs7pgkiRNvHNKcVZlYGT1hOtan60JN5Ti6oeBAp5xbwuRJhRAEo4IXrfGNiZzkMlDskrwlgnG7FKSWv/KdBtBc0DWi1c1iCdml4KigoPgY5w3mzlgAZ3uQCNO9cG2fBTVLmpS97MHeU69Qg1sY88hnXJZRrWVcOiuzMZaJj/cUWgdGrFdnNZN1F0gQ0mysrDbeMzI3wiYduzgBTMWCjbOqbIZTJGp3c3pKbtFlo4zdaLGsfeZfdljVQbeZ9Kyy0+76ITVOc4W0WmbnyUnA+M6qSILJ1rCo3xxfJTvqOPim1qLCZAzblbJ2Ip7zUyYfnX/4regPe7Rk/ddajoRCA61Ecpo+AZGdRN/sA3CBbHzEzw6WLWy2QHJIApOVXndV6zPUKtJ05KxDbsNGahsLLrcRT+r8lbjhckodji8SYA/mjwx7Xjejz72NciM4K8P4AyFOqdUOOCKV5tmfFiy3NIdTuH96q3gRUHzU24yufsWvn63InvfaRdV53cxOkpilAkVmM651tImQ7XiiBwB/klqHh2BRWgTcNwQHEh8A4Oe+AHytibRxTOr4IXH3VNaba8kA4SseMyYtHm1UacJkip0WkzO7R+7VEORVqbqxBltBuC+sYJNm6VV+NV1aL/eLUdvyKV2BmfuSuTI5NUAr1jAhlaeCzrkTqhYtY7xGOWySU8tivPWp87LcK02GoTxSwUWZp19oImPORjNW7RnTe+oe3xgwvsQrIatTC153o7Yq18cIOEy0uRGLktw2A+izVGy3wWyK7PUATnJoojrpWQBBYSrHr7bnjO0lyw60Oz2/KZ/akLBtCXtmMK9BY/WjMSHXR5g3d0cB8fqR8nNlcVNECW233Am+MuT/XAaU6Vk7vY6efheipAfjb5Ie3svldaLIQHoVlxipodNJahT646qqwCnIp9ygvb0J3Z6KOT53YohSOGtcEl5bvwq//rdwIi5oOlPzBovOpY71lx7qVRfL+xBokfglbhbmkUuKXFpyMo00ndZIEEXYPHp4wz+Yvs+rhWd8rIVrG1xcqID9ot0D7n8Bnifro5cr4eqLqyLlvIozs5zeKhTxcaDh7FelgIs2NK5zNIVP8J/D8SJmxveEeEJWUBvrdGvhfjAZm5xJD99EIOq94mSjRpdfn+mQ26IG70OQzn8ToawrBdyqWvWOA94rl4HWhsEvI1TWuNA/zpF47+lRZ+uduw8akx4SAjieUZkDPtVFtP7IwaZSLnDXjaTt8KvOThEvW1TQRGqzHVew68CzpaSxGGY+s8vob7tAzF2+mPa0zWNK09YVVTMOJdc4lMF1A7/qU5ZjTioO9olNUbvuc+nWDufd8+pJ5UaOJU05B1VYlQGwWwvzsU+RqnCG0tIsX9yWLW6ahfFJrfzCUQZSg+rK56/f/V9SCZoz/+op2AyV6Tk3AMa2M6MRR8OPcnxxZGmFzEShRimhft1wAVDrtZC4N3wRHfwxEmcbOVkKb1SRrvDoOpoklxsZ83T3YiZXCUtfySOU5hz2YL6RGcqSpc5MDZCsnFLVS5qSnkpY5hsA1580ILgGgmckrdHxcb8raC4tTXMme1tJ4TUIST6wSLF8jh2vF2lQwJ3pXG4vvce4n48RDq7kO5cMXr4bpN8FynGMkUqDgzNFyJ1FxGmRDrkNhoAWn8NTN7suWiak30MnamsdxrcyPYK/ZfsVljUztPn0tGq1RfYPiEMXejLTZk5hov4GV5tqDiqFMx8naUODrMdUw+8/P8zUTv/6yzieh5eCvb3PtfLvHSynK/sy8R0bSfRGZHkwpHG3cgsBGtk921ugsdAIb8sefM0W/A5uId8sEQPCyAPA9Yn6JZQ2cIrm85/zJPpMNNYnAzKgNcjAUAq8N2tOmHbB/i9qqVzuweZX7CpZdjBe3XA447t60dx78XpFfcNUARVuQGoz24y0BgMUo9t4Bz+l/ivEovNkFMRhk5DfcdPPPmSfkTIXN0H+CsYNvL1uNu6DYJB8TD5/6tRfWoUvu+DC6rIkDgpwsF1isV/17VNF1Cx9O+KAjuv4xaTz3p96kL5Y+nC0OdBJQmcwTwsiRpisTgxJYGgTapJRJgzTcKP6hhNdMuMS3SwZIY20qh5GgFuyuCOrxB+Cu3BKYens/eCjcmAjRDeuPVgoJEAzYcKhS9Hz7a6acU13E3Kchq/neSIEd3XPTseY+5hWOYHf8p9jdov4R5RUaq4TCVQ7VM4SxhA5Mz1bkmAo8KVRRkPvdcitHTTqaGqjLMHB9zoOUWfVVG2v0eLWFMRJ/rrPIZvnV9ILqTC/3xnVKy2vR5JJgSPkRrobyobDzK/ZlR+boWc2N+z+v0LOUgNmVrx3oaZgrxHIgwKwmofq+48MAqJ88/IqWicxXaguxPKDqgyPGOzwkCCqgrRP5mT3IVU9vCnTrPSOnFckPXt941FgJmmPjR9sL+iDeIykN0FQb9qFjqzfPM8PZay9VWOV18mlHa3WEcXFu5vvQACmWPaTMXxHBREAofmPIYBcXG2VkEV+Zg2bv+7PG3fCSP68vK1tNABzdcgbCnoAq/NJwcRRgz2bNLtMYUPoaI3z8RYkDp+pGG6lc+e6ABftrdavWcW8lBzIqjf9zX6ZA/jkIisWkWePp55g2lxk4ip6PY4b6oGRqqbBijQhZ9jGm+kWYyd2/KUZtJLIYvH7s/CelLHKTfFiOWySE5MkEFBJGiL7e3lK3VpDoBWG7FnjC/luzMvrgdz9SXCxgoOsEDF3zuYIh5RAxmW2Y7CFpp0op1A6lCFpaEJw9RgaDD2xlK9mQVn5sHrlpSrcvgXkMq40uk91CCfvuIOIfGdExWP1EB4kQBMEB/R2bftie8V1obAca2fhWQYXZtulMrIjmLUPpAx0lFA23TiOTn//5gc3ewHXGe5YUjG+IfuDU4oYm9exeYHJpkynjNxQkhAiS39ECbrCLzXzJ4y4hPMUA1XsqPjSvg9g7VUeai35NWb1UnBZtP7cP0EI8L83rDdgArmoeD984pn8qed9BgkE9r6IIViimtYhPGVeu4SGOES+2XFTRlBh/1eueDXOpV8QY6tUBWpVniDpTvtwCfn1dokU57BO3NAEtGXYVIhGV5YBhq7z7kYgfPjXVNUxbrt7ELsmek+u81t2YII8qCDhk1deDapukuHwp+BTdJfUjttB1sD1sSf8inNxksLm5AQz1S4LMq624k/j+Suy/i6VyREoDd3lYascF8pCBirQXZmA584JvZmfVhnzYXV4Xd6x31bxnK7MUalmyFHKLZ5jhrAPMrPhWInUckzO63HCqHwI598Dk60BfIhJBSg9MZWHGoNbrZHqwhCA2z+70++MH+Vf96hsB+zZqyBvDYJASdbbvc1u46WFm7OY6QHU9bJZeQAspKz//L4dO+arCnfk0lk3DfKgGAgxE1KiQ41b24gnorAoCbnJ+QNm4OMFB+qDDVt0suM3QZhxdVuUkh4oWPzlshKFOBHMe4EDpR3/9bTyXrwQpK++sGQ8G1Wsesaby3syFGX08qQi7xWdDUfT7LuBEZ3LzDHUv+B1qeu5C0FStF61QgKfrK6sTGPMbOME0AYcqULN9ft1t27k5HdJd+8pqY2Us11rdv+C0pIbp8Bfwo92YUjYe/MqHu3j9/kJmRcnzD5QsA67JApS7kirNfRk1QYn8diMbNO5BxhRP19bTboN4B0pX5bs/yINqVK/7jT/8aHEhBUkJ+FPIcySYTfohHHhhuyKwQ/ZwwvVJmxqPBC+4hIVM6JXkmTGnZnHQc/YB58cX5vu6HBlvf2zgPwVxo05w7neMdkCW4HxoJiTNe9jBTIWiszw8Te59aqQW8K3CDLYsy+av068c0boRE9i/dpbgPaRtJYKyBeJ1507PN/FD5dGvtqayjhf5W+nJMLjOG06FQ4aLEvzk2VW51D/QH/YIZxyecyO8Ch0pVGV896Q35P3B0PiZS71AC4fxMgNkwCmOG390KZzzIMMHfOSGj6pJGFDIIxlCLtniYvq2QVM1kt4KxKnwX5Abc6bvyr5CYZs8Mes4zAovZyMTK6YLavAe9umLxjWfAlY+buEsvPf0m5noLAQIpglEZyKXM4vwd1tiFm81QN/2gU9Ydi+rS/B7V9599Gmgerc/mP+RfcpHbpXLz4ijiM43Ip9NFMA44y/DQoOJm7mvElPorGmcASgVrxSCbyn8VdW0eY3I3UVRJ5Jl4PpnZ/4KoeDwx3j+CAQhqYkVyAZ9J5M0y8KL9hgRLElUrjTQBq1XnaWqvYLb6gbLgmyOMjzGyb6gtxTFdntqlMonmP+x5E1zGQ7Oo8vqeVwdfQ5MD7Uh6EAiS27dyqkqWEf97N0hULjSevo/lECQpYK/30LvnEn5ZelxSLWF8PIMNr/bm8bz6HE9pZmhiXcmbNsiwHHduNC98o4sA+IgylvJYClugYJk+3YLEnizyygYFn3T6wYsrnGV0KQZYc9OUcrBLy3lIrEJntvZjx3nXvMUQTnw/soCmDk5aFmg+sxS3w80Oqii9juNmr2pKOehjpMFyE/hM6bWzGMUbBd+JqpJ9o/thukDlkqkbr0De9O4cc9tfiKq58Lox9AOLqYEdBzgLH6PzaQpk7tO+lf6zglEqICOotFlsEgFmu/GHOAU0BMnZVi/oPo7CQsQ4tsjJc0K9u4bPNP4PUqAc4rjGqpWaQM8I/hOikvtAedZvrecLeybl58yRe4p5UfxJAQ10IqHSxNozG6tgOkVDGTxHwcM98oSjwSDLs59PklXIRvwiqXJMKKSkzKW1OEuQmdI6bvopWoNwXSZKC3I7hhHvjWH0S7w8lAx+qH4cnnHmqFi5G59LGj0Uds0noAFBx3v0vTR/9Yq6s5jlSLYF6ThO6klZm0PmfzYqo4JhEZBr45dFBGjZAawMVlNg3/PM9JCR+p+ilDSaMtbjSTgr3QfO59uda0EfbCBmkB3jQ4eWINNiBwuiMeIPijxNKJk83G5nKMaW/bbT/VKUOKEFDdqqbxiPFGzU+aOoWbeGuIDfZ2TmLD4TlTyHtq5VZa7oksKqGWtOpblryZ1do0hdkVZ5KYLW4v+EArBEG9HWlhjctQI0bEq/V6/WTrlGrIFNEcMt7ZzBvdQr1Wa8foIb2QqejHfYzElSIfGCwUDS+WQI2mwZf2n+DJN/vBFxOjInU9QXvyd3A/rWehqa7TBmQtTUkbRpyMYf3a1lrEfkscXtALrQWPtNKEYkEDlZNFjy7gZyzq7GV5scSKwm/M0jowZ+1SPyptb2pWSFu9ZTug7VURMy64cPRtbEWCkRj8Su1gl9schq2VS0P3KwhYqua3w8hhXGgGNl7JrqaxIr5rJLYzYQbRe11g0Ho6/tXt5xlxHKhRiWTe9xZ/sQuh85QzM7vs30q9IvYJJVSfay3H58ovmDThPjo5GYaybhNYR5doG7Ug3sE91FXzamfK6RVYpuukJ65LcfgLhf1ITlGRNt2wwDtlSY2fn6CKTwWU6x1wjB0FT6oMeSrEkORnH8h0hPA7kAs9QPrAZC6D9SGcXftJJo32epn33bj70/xc7R6+sx9rt6aE40uZqkyzKLHQrc45ziG/lY0l7THp49F0ySISplH0lZCJNpOA7X8jQQxomO4j6/u0jBwAGRML3wCuP7NkPxVV4dQ0DBusewcXgVmUzxQ4Tu6anfNCrFgB4E52iqtrcIhuI2qtR9RSQW3Y+UOSoneklr2/1YEZ5Hu7YEx0+Py/E0tMe1YynyCm0G+V5Kxn6jPsuGetP9kBkdkIgdPjBMG2Qw5RVHB+ggFRIDjNCq8p97xX3mQ0yM2DBF+tZ9mP2c51srAj8FT9YS5xakgYON5MXesjrg0VYO3SWtTmcUC1fwQrbxTJnMN43pi268xG/yTrNgPwBWJ+1GEI6P9XmF8q/o9q5vFI76Kgv8t+KNsIlbdaVfB0v8+USGZGqGs4/M6bLVx5/6SDvIWn/+HB89y9IKTlVu7UkA35fjiD2WL9bTTYXxhxd5eMeXa1LG07KH8crPoogag1sNEFMn9tftAQHEEybeWQslknxt//kt1MafM4I7YQWpKs1m82V2A+LUrg/tl7KP6YFMgvyXY60GhAstSYfNlH3oO2oTEkCGPSwr+vmOdIM9dIA23DV9AFzga98BYEGmUTkEommLthb9PmldP8LWoXpPkImKL3DETcCAy5RY82wnXyWdmY25au5QcSw2lZs2qTSzSqO1n31eSikibUhEKtrtgFIScEC5p8iXbX1Yxq8xFc5ICDi0nsrYW1ByAQlciVKAqFtc2bPJ7DNSOtHC7QtN/oRtLpHsxhF4IRnM0RITs4LAdcX6t/D8L9gyNtC3wGgxt2azyA8kZcBgY9ja4p7zKJLDhyzBfy8GBKwTFDRKIlj79fkUr64CWfKJqiTL38F2Ifkzq2d72IxUhSK2DUvEwf/A/eQ23VnGok3HLX3F86RzoWAWQr62l15IJBm5X7GQoJcQl5XnvRtKPkUKHWXobsQv+rGzBXgpqFX8TBHpvPuH/GJ275Urvt/Myp4FD1/WvHqzaC2r0TpqjJZNuPI9QiMiDZ/H/T9h/BJLeht8fzjZ6xt+2gocA33z41EeMxGmgSeXTc7iJjQ0qDUaadhTXzET0AZvAvML8BW+qI7310aQvvQCsMieWQV6qpF6D6xoD8vjrIC1ZfxY+EcBDqOZv1lKi7uE4MpOiM2ptTNTSycwIEOTY2mdAHXW4x2emicTr6eG4lxcTAaXllaPE7j7wcPs1ZsybMqnH1Qrs9p7YWs+Ig2veuVk7o9PGO9at/04saxvkHbhmng9avugbtn2kRWqUU0uLpER6YrBVsHnLeZzACzdZLVWJO15AZt7rZxQq07mUx7Y+lemv3LeqXvlWz2LoTKAK8nqmnhUiKxMfE3gOAbWkMCQKLCvrJSmxvCnjTWBADiWUg0g35yf9SqGsgJUUwuHlYMKuR8LoIRUvlN8jOs/cXTZHfML050DpCgVZi4htvxMUWsO5mQDrGBKlzDhUUX8BbJnlN8uH1n9aq1jd35A3PFMIcBeZezLx4BZVzLOXEuIuZdhjqO+wT3dlFrpYL9ae63Cow80C62osTCWoFzGnrM3V0fClxX7OYSBN9W+a85yTYQ+3zeuPW/3xuKgg92oZ6fXS4MNIJRlJVcGsbCwuo88LthCTpVxN1nBFhTSbqdVVShq3/Zh8uMjrRJHYQgAfYOwzoYIYXZmGsPf8CwdKdrELLcMtBhXB6yxVmAO1aTg/dYtdGLewso2mFExjb1BbtMm2geRSLDf1ckd40QdBqHxNRPbTMEcM//M3YBmHv4ZhwlKW8fJAtecEEqyG0s3Dlq65gwJJUY8Z9jDvVFjByrD2JoApZzXBphy6B6zK9zUUavDvWklGrxcglpeo84tpVDfhghXVLdIeav4Sx/LSn+NaWqP+FENuxXvpiXx/8eixEfrn/E0Eavbw73g9iwc0Mr3P2GTpTjJjkiLNDHt/s91208Aru974pWdeJ+8aUpzDhckRiMNz5TgIhLmr7aCELIOYyKkOfmPuKGk6Hfchk/fqxa+mwsMM4qaMZ9I0A73Wguwea52dtZdvvgR196LJHNX1fSNPvxB/B9g2MNhPgvrQYzqD/Ov1xjCd41feg4h+cllWQKsoh/EF7JeXu75FcX5w9XVAuxap7OFdxDmCJgtjLlMgPui28WeMH8rnLYDeKelmFGfP4y92eoDS1x1X0ruEgX9/Kb6h4Y3P2UDmAzXQkIYCExDBPm26W+nb36k1Rbd755KUg/04bK/DJK4Q1aHW1Zn61vvzzylkzysHDC66M39ZJgjINv5bPTGhZXDpq2SEG+YZVJHwKbZum6nbhCI9Sgt23PUyKaBv6acy4ceIfq+g3rmMvcnsCvgcTx8Hc5iD5X6bxVUULLp5tfiJ5hMsCk2n6SY9GoTh2LoL5s3Lz7aNf4MyotrFBUi0ZoqOnhUoyPTDZzvY5moEkNeHpBzgUUyA30Vk9MnaSdNhcmVDuQoOo91mGTCE14lLGDJsXU8pxm2ZkBeTdXQDpRxpsuUzLqTS3Zp0fZS0CS8dl4RLk9g+buDMr91sZPje53V72x7Pdj+NOzDhEzpnt+8L9VA6ehwlGejZ/4oT4bCzWhvKnDgSuXD2t9pYIjGp6qvp/mznOGxj6GusFtbA70H8pqoIhU5bQmTFtFtXgOb8C2XT1qxwbkhcfbwH6Xguqyng5j4aYWD402OuewLgTcgRDStF0m7VHqjkuiY9Ys32A39Kbhm2Yw50CBP+GUhMrzgVBmOZOkNPt+fKt9sibeq0x5y6xRq9axdINZ7M5ZF5KAvZ2kdQC9evyB2iDM8FCvm/Zokl44n89bPwjD0UbX1QAFkmQacRiZFQ3/nzTUKwXfjr/t7XEXNKU6+SoeBRASx2tTNEMTO2R+XmbGIUiMsk+RsSX8HUqacvSM0B/FlL59zd7yUIYtpMk4FpJ0Xeq6QdbS72ShT9Wjp3inFSJvBt6JTEmVoHUpzbOAOtrpuPWiz5yK+NdPf/cxML1mcZcnKFwaMMqWcRkBQQRRlan49dASGsSYJ4MRt1cx5iSFIUb6pRbYHKB8dxLZCKZo1alnkkKgF68w5yPesdaE5R5EG430Iov5+RbTvOKA2hPP+9N6/gODROA/VXEnrXd0tsi+PAGEOnw7ClovQrjovDVpvmzhOCGvUZzBta2Kk5Uf50VQIoJItQoGz7K8tobCQyijjKDFstyjDe5hc3Fgmm/0z9iopQin8wdTH3WLrltrr7+OihCM2enP3i8MEyQdS8wIFooJ7IbNMjvvGkENF+H86kldAlBzVB43zTV4EzR1ccLUholNP3uKtctxtukvzY+qAtJ4dfDC9pwBe8KTo2RBEh1389+cOzZrjihgcowI0dz7haw8yBsvG8oWVRUddWwpWVtWLmeeIL4x+vAVxJgdT1lS9sQblPf0Nj12CK6u5grKiypRaBCS4iHw4aHeGfBWPuxr3AmY/mMeLBQw6ZGUcR5liouVSwIIv2FER4vlOT709t2HJ7OSaY/Lyp9s9g0APbXWW+BD9gS4UGEWE+LB7xAuUCiUdKtXsKBMav8RvZYqiuy8gdrGC14SwJKwe50uq+2zZevtMezootIley6oy6jjl10/e9L+BBhn+4msqQ14TVTf5MY1Yt/p1aer9SgZ0ymhstgqgbOJ6Zs9p90WbJ0Jx1fSftCSPYh4LSDUyiZ3UhyAdY5z0BSAMxfF+kNYwaDBeyeCm5fKwsiTGoBXez6AbzIOEGouUd/yMqVyvIF7aaoArvUOwYaNkdZT/kXevTkCrsSdCfVRN+q28sNKd4QoItczfaD6ahohyneeazhPr+7PMDTTkgQIkeuj5+k2rHfRGdfgn5277HvbllSg7Y8ScA+mCG+YAMtFdwOugAEN5zXKKtvDe/AZCMMU2N4uI+AVHk12WdkS4GMsOFNU3+QNZ8NWeEqBl3SHBV3Tj8OnK59U1SxQ+nzcGn8aqfHfs+ShPYuIi1KPx5Xnkz9nFEsBkpCum5cdYhc8W3DAXksq9ZgaeQ1lAsx86pu/XtSqCKYgzQ/MndK/TZrtIACLV+04maEoxiE7toKAEsK/9FRW7Yq/I3qtnhAwvAv77Wptqy3ilmCz4K6MV9hpYBkpSCOY1zZiUgY+CxWoGYD7umwq/47uPkCyAt7Hg6LxDt8Puj8vWe6XcauHcNn547q9da0sbdUL58gj97etVEr3qVBoagJ5j66M+D02U9zgssGVyOkGbTLIt4fAeoKVm3J33piz2xSzMKjsRd1fZzFOFKImXRk2Bj3o0w8+oGLeqx/Fe249ljvFQ0nsabhTszu4tUTzbxP6gLA7XmeNrSX31g+BvRL7ImIa7oqzmZrDo1rpkQCbgRbYLt4vf4KMy2l3S6DAb+sWji5rL9p7eLOUGRZmqWiu+zDBTxKSahAo6GlymIG+sZmrbnj1U3C7JVRHz4KgeMtXLMPZisR3xw+R9OomNIXqzPSPjtVGLAepuyUzSEx+cE8XKLVnRLd25l+fQNEw76alVVVAtabBn7vs4HoHqANkXhC12oKlp6UHXDIVWcMjOTOvBbOu3hfd0KpJT+p/syfMLRWxw+Rid6VgNdIv+rdv6IowBoH4ZsuDKOurz5vDlbHHnnP6xFyi53xWl9azb+Imtun+kkubx+mppTwv1Y5RgkOjUl9l3jtH0bx9nIai5v6O/R5Hg72ocTEUvnNh3ngq3+VFX5EHsBAN17wzbxRdeHv4YSpgV8qm9TFZMLSMCafarhqazfxOgdRH1JB4vRY2zszABewdYRNc/Kl4UrEovxU7DgwhiXUC3V8U4HjqO+6DqJ6zAf2Lt8tdOAmF1a3L02ZZ2HEl95KtQwwK5hglmOzzDzOHKkkR3WP80gHQf+jh8WviyqXxEJ9wRtJKaRfiCkJzN6GOwSiv6jj9AweOHKGXwxrN7T8AujYZJESlD/FaYDQQm6ii8InqLWDJE6qrRcA8uBWsOobRon0f9DZZPoi48iPzKqOyykNsYVEDj99GexdPoVlDWn3+FCwCb7KOO4lINX5rWSaKVFiX/HBxQnIQJ/obRaCeKqCvRfD5lLP2+o8Tgy4TvZHxbOZxhPOjMLqvJDqvkWIm/l06yBxzzbZtXRbQwq1xl092tCb2VmkY7IX2+3cJsKHKvB73FfnDnsJnsrUWOC/2j+fMECTXHR4eMUkAhQiIirEN8B/zXVH5q+DYw+j9HSxuTxqQmscYWJdUfl6u4r5gipDDKisDdYSn76QnPchcB+Yz8n0uc/nGvPOPwdMF3716z63PuNBtluUNr+zOx9SYCKX8g9xn5gcFl3GiQj7Yo4CkbngGNV5yjAYeM/fhp0wvJECLMiJMYxokMEzXYqZdjfhFAnIqQ4rQYuCYMImmzlBsCRcVdFKzRJVuRbQCHWLYJI/YYvsu19gRCKXGG/KxU3VO/DTaPdTa70hOm4s9zuVroIRSkKml8809ArdB7FkFqubkA9mKunNNZO8F8QuDGEvX2e5paEFINWIqkpiaFfOnjSjadwynb/Hj6ZgY++h4L0ZmR26O3JzxkV4kZaT7dHKeW42hdRjr6t/8tEuHf36Fj/egfAirtUMiPi+D6et/Ftv18CLkKg+3pJ7B14xukEaZB2EWmbM+CI8D1JU0E7iQDsl+v4v+I5TU8kgA+NFfxmBEoZBiHSOkXsEu3FOXoGcIfZKIdXusB6SFewil9QIWvSuEChD46cTCvfxFoUvedT1tTT1uJf6dTkpL2M0oBcrXR5YkWTxMzD4d2kNldmK/LVGdXv8/mLE6xFAinFdH2EDcsYLlORjVwpI90S3CejLYkh8u092qZgph3i69KU99FsJbwjgB+rvt2DBHqx7byLFtC+QIcpONTaLjedxnu7zHyZgfbzisPLtqloSkEQUYqLlyR4EGL7cHUVkaNCmeGk5/Pf1qjEe1exKB6duUylZE90Q5uCSQ/x6fu+xUaI/HtKY8YlR5gXBto6DDk7HsFhPBnXea3McNBtTp0ij7YWFtAV3/GlYJSpjWMMNIKp35CHuAa38iDibdWhWlD8vorN+94bhXYFGEs56mCKhrfI/kFLFfu8Af257Slljn33H8MGYb8C77vzQ+Yj0acQP94BZWlIAyPFOf1kS/Eiw/5A2ffEUA9pIEMbLBJTNNsjZDaY16gjblXpZ1FcRG9ktrX9OFAtKD26qc0V311SbiiEJHqW6Gr59tLopOzZ4aTG1Roowm174psD0+XLrMuL0KTkY48Kt5GOmaS+A74bTeZauMA2iy0qJrcC5GiPWedcaByiVjpy2X3ADS8pDGPpyGlraBl2nLpNKo84ZGHcv5QWR6k7Q81QfzLOoJ3rKE/Fu9WfuDedeaRl7dkbc0XsBJDsrCpHq7kvgP5ZkExHtcvUjGcIbdVRzPD9eMoBLdxDnxM5L4Cen1VezLmf0hXYFPKA/wbdIT7RJQryfynyCK6ylSAUYzhBY+LM5nOEsDjMkEg2mN0MbYuJG4pvQ8HgwBVIvcw3YQ1DPlWCG+l1CclT5NV4L6tZxrmVc3uceavUT9LG0jcGqm7ho+MToZrywK0VIuwP4/u359vy9FHK7dE1ACYUZ2zHgO5aZMztOkUVaaX9aKJoPvXXu2h2jLVjPIuoXCcTWI5Y/sWB6wvDcNMsiTviWNhhoMHCtW0jIyYxkic+iGdiVWyAFGakxe88CqYzzMxtv9axVAPh6ImQbajV2wJemStgLQE5F1ZUYV4zvT4AliqcatDl1UMEFqbjxHO+nOr6qTTGtooywuo9HIy5vPT+x6vVZN1c5F4F/lLL/nan/AW+UNPr6ZcuOslEl4IWPsm5nS8dfzUNpxgX+1UTTrfRUrP59ncnDdRsWgnfIMnQsIZXycUxoVwtUrbT2pNOB26WUwRDyTKc9MM5BPp6KYVYmCPFDlvhfECUmjOwl+ptqtuO5179YOB9HlbWj+ImEZPbTglCPZ6trjw2Ma4cbAUSjObngv2UnEXBASZ2sef4O1sCdD1DNZ1U0cLKLgkJC523jNlAXhQ56AxevYz77PAMQCJV1igL6SlcbFUwZtnTJ6gP3fxHEmPciFarDYW/7J48XWEmdM0urSit7Rk8dI1Sjri6OxLD55t6YDE9bfKHnx/n3EQaOQGraNADPXq+YXQSI4gfe87ROoYYt7+ObziwcRJv2YiYGAWt2raBkmxat7S6FfIWfBaAwkJaOQsBCZYG6fZZH/QrXm+DtRoINNzNPl/JHzzqfiaoYNu+5B4OCBMekRKpneMB88/SH4R8u3+m9y4KMJyPoT42bZJPF78cpaMyk2g4lA/y+uAHPYgovuVjvsDuoaSNuk/uBRgc39Bc4s6fSTbta6J5U7926x160bwVWU0YrmyNXpbIMGJgX7i2y5475BlPTLc/+0FxNl6xdrrunoufIgSGWT9WV8rrXwWpKnpIvvlIT3opBKaEV+ojL+a+LC1VdFsj07jLxm5DCn1lCl8QtzMZ4qgsv25NuONy9ZCImuFHJIfwKhyZBm8/eRcRrkIiLd92m+2islNfDkwv6C4nDm31OUE2C3VCsdhwVpO7dX3A49b0TNbi11/40E8sGFAvjbNpapMZzDS6vseiMY4bQkjNf0ScppXMt4MlKlwZ4z9yGFUMRG1qT1MaWe+4lMZGN8bNAtsNEK2TUinvQ5fQ0SkP4UIdUKYJIi8T+SZKYLCDAsHhJ/iG4s/PuJRb8jDeUwHfRNWKjp5aqZfMnCa6ASHeB6F0JXRhlJBmdgTXM6TOOw89MewPSonQpXdly5QiOQmjg4xm4vsZDn9Qg3wzWB3T4zl+ysMVVdyj4mCRd/hR+WtISsIhlIaogwb4myystR1EdD932zlbWAIvAo6hnGIiLxSWg6A9iVTmRe7bfD3hSuSKdlLpxmahyuEkXVpP7KwDniatXl3jUrk36e7r2nwGy+hNNpotd1YHlrgETgwPMdpoZykgVkSBfzZ/PeJpt+iX9mwf7cUg3xIedn1yxqqBQK5wP8GaLon4qREOC1s12PxpjICbnQCIeFFVEU3C3Xc7JhAv9pkx28di/lMSPMLDFvhUtiCgxCW6+UIOrUachux7Ms5ET10IQwKgvmCv9c5Jff+7ENaY0/zX+uVOZ5gvSMkmJ7+ai2PTZ2gtkpz3L4t4ACD+HgKk6Qot/6g9q5XMtJOttCqEIhZmkR37R4xsoPcbpQBdES+2lHSX8rk02AVOYRgsoCDQm3Vx2b27GKHjGH9DH5WLfVJ4Hn7QSm07rkLkRU9TinvXeEtT1gIslAP2uD/YByL8Wb+iP8HThe1+rYbRNNCAsM8xyFevCmb4bgmCIRW9BsbY6g41nZBVKDNktNubYhjv0O85gUbqe/t2EJvf7DkPT85fYtR8MzqQYTQVJU73MbTYareyIdMCB2o4WJ2eKWf8YaJw9+lKrLi7SdK+1gdDYedLFQBHHm3NS9FCmByQv2+ukBR8xpwUu35DhCRrCdhAi5CiOponPhwgB+Lh5wNPRBFBrzwTymq4gKiDIJtN2Yk6ABxZgdkP1EDADB5DWsEj+pgD+E+sQ2i6+33KgmNv6aWFsIJAjPaOdrcyf4hYKT50hMV2tCDqfaDFCm4Lt8f7S93hHoKA2krmHNp0zM9O86L+xGe0ao+8o+6vl3w5uk4IAb5QopGlawXq9iSeFHcVHueu5lpffjMgWNFg33TVDLeXFEYnMuZNgGwtNfswBY/S7GffGJPjQmCAuMeRvn5sdpYAyFPDDZXKrsK9ruzEm6Qk3IWO2/tVzbOxOpzcMB6JVX2V4+zTLRBnan/NldhnsUT2QmP88QFOIiIzFLL2HoVUj1butDm5CX6WGjb0L/1IDQ2ZnyGADykhd+L3cDVvDC3I+l40dqveDyZm1b6jrK07IcJOPp84LI0owm8TyXXYMAAgdS70yP2aVB+MJLWq5k73OCv+TeE8NcUv6VFahx3hyKVZ6mEZU4T2HonNgLRZhyUBARYiXFngM3zkuqyZ+w7PMetBsmvzut0lcwfYa8IBFzoyoDASatHY05iJBmNPJc5My1hqVHTHf5yMXtwp3+h0jMtWPpjqd58ctCQr9WvhG/a4NFCpXjw5VtT3WkEsdOpsOdZyYNixXlZAtR92Uj0LfI/smCPOwIy/eLIxeMH729iYf4xvtcRv1Uj+UH39t9GdyPAfrbXwkzw+cHVyeyWnN5EEpGVG1AWfRULQin9YBufNCO12W0C5uPj5brUcBA/NHOmRj8FinRM3L4MZuAUXXoJjB1dKvtTSH07/92X5cJzGmYhyL+74ryJMsUJAsJxWbYbLR2lUdAFrMseR1nMBdoE+i0rcsgN71KhS3rptn/de84BhmbhrsBm2C0A/ses/0apkKFqQGrzBKAdkkKSGjIQQWjr7IKuNmFOaq+DrIHvzhDtvGiVi//U0sDByQltuX2+nRWaBMQnSGdwZoSvbgBmagfaDIpoNoY7j+UoCJmrCC/r1BkeY/ka7TcSWRDr2TASZm0OUYcbRPNFZd2pPoeg/GsC4erVywc2hqUp4c76JzOTS8FGGyappxXne57+duED4aJ5INdBWUWKAsh2j76ogh1SG5yS6JGPoVTqkW6iMs0R6JMdQGlIBftPV8JW8ZuewYDbH5y7EPkqwhjS4+NVtU4oxojLW9dznDWFFSjHAPfUQDnn55OJUeki+qeUkSCksHMZD4GAUf52YHXOb0vN0V6AhXXMucT66MdxjY7BfiBGNfUQM2iAdrHVN/GZkgbedjVNBWTWKTn4+70ydjEez9ciTN4g747Z8skKFEDu1NR1HFhKveoWdVjRoagwQUhYKXlFbOBKxpH3s4eUheoKS58AQOGFZzqd8UV60zQY8CnLAxSmiiyKdhB06hCaXUAwX6TuE7/zYk4gpdkVd5MgzdadvCTEl8JpevjAnaPMkBE/tSxCMU8Lr4rqLKaB4lmV4fTFirCbAQUcC8Bg2ppaJVDPPCxnrsfkYhdi1BBD0KRi23/Q5SBZ5GkEXK1uKbzYU6QzRhpNBbmGYp89en7NvtE1Aiycz8iGR/MHtOzfJ8HbjbFhnI5raV66/zr8rB9mkCeg+1lXxHMeWFwqF1V7VM6euro5VcdaTDhbtBKnrc9kc550I91ofYccVEsksbFP0JwyOf2DBtBr61/LmTJPx45jDqbbbzjExYd5M9t9Kph3NiKTa9x84wXgwnhJpFPNFKsG6QWkUMtImgntrmSLv6fK85GTboPAkwEcvo0mon/J4ji0Xa8IqffG5YbEd/M1yZOdTJsn43rV3E80zWYfIP8aVJfhakz9zs+0PBs00gax0E57LJBG5/cHcQWt2AYBGJcNS/HrKWY9DYAKt8YUslhVF4sm5E9NJz/t36Y918Mi9oZZHfBjc+DgepRohAlB1/xbaAE33PwVkXgderMBMvpfhRzwGDptROwnR8fm6y7uoXqgQoIYLg3n6LRT6tFp8wMeC2jQjtDsk4mxWGtFfV93u1WP2N0EPYGA4Eiar81aZhz/o3KtQI8rTEFnEWb284QLCZlO1KjReeO2lbkUEuxje3zSnSj7w3zjX9gTarfVW5ekrzwxZGH/RcjGhlMkgmGjrgUGn60lpI6lSo9pUDZcrl844LjtOa6b93TJC3Oyzzzzq45pfc5IKjtSUoR0jiJ/bu55jUOv27NblmRkJlzkfM2PE8tyVH56FwAaCy0gf88LWpX+6S0opXFas+MQ4652F6r/kn6Qc74zkZ58rJi8qsHSQfb7UlWkGeEx+c+4g7qsMm9Yds78k7Do/xpAnm4+J87sHI4wRPp6LCuybn7FgZDoFzuMMJ6T/EpKJO07l7N/ODSGd5aMx0iM5TdF0eBEFd55/amygHif9U/0RXq2RshJRYX6wEJdRzs+hltYgndeh0aCtya2xpk7RKgZtqZyhzjL+KyUW8GwLtYwzlKYP11rvVCnFlFWZKqTdo7xNUQZ9Xqq02SHcrPv5qqyMoTeeAGl9amJoELXgUEir2v9musoZBpExFI5PEbXk89tyGGya9pOqMFqPGvj2CER85uw7iKU/kl0Rx5XKG3lBP04STyk8vs9hpJoK3mxV0Ct8MyoodvTU1vbFY4/CDEpaoV7FjVEL0rJ2WyyxRZhPC73W3QlR/IaNMNRDtqV/nrpnmaosa4PDsNGNCgymmSMY+FmAeN3gTgEipxor96g5wrr2RGJZUfT8soGKWUIgqnmRTPdoDjU867QtmsFocobBLyduF2x4Sm0wf2/QiYRkCtCk6WIS8ZWsOjHvnKldyHX907aJemCP3pBWoHAvBAS9rtj0RvwswHwCFTlGIiraHtheZwiIq09O+4bl0AJGAAXPtrieByYsqn+HO+rCUdi5MBDyZxx58IX7Eccn52S70DarOWMATW0kDIAjZm+BNImRm2LifP/wUjolsG4Mjyehc/258SGAmc1P3/aNMM+mE3FBMaclCMaXqXgsyNxpVJvl8NeIO3gRhfrxYzPyVpZAyUvYdKYjTNCDwCA2VCjp7sNHFTLetduHOk3p296EMXq1xaTOmZxwH1QG9h8+SKHkoL9w2XQINemMPA12jlOoy/FBYgw4vOsITz8HEAabK15pD7E/PR2dBBDzZN/va4ukURoyIH6VX7pp5e3FtmLMZPNdFoSkK96KEa8tCwRhBnJHz7UX+piBs9KQ0WVbKowZE+4MkLC0HZSD8VNH7NXtSjDO8/fg+M7t3RwVb63qoylUF2iNG8vkLY7LpcOby1HX+7jm82x2GEGukU88jW8mkUANq9nsHCk0Y8wYlx0OISBHWqmCv56Tpd/J91IQWGzqqvj66OUkgbBO6sWhQuXGPAoqjTNQ/wH/ygcxi6+CjvD50t0FhTrFI0DbOxZQ1iaNpe0Z/u5EoC74TUaqGYHuvOhfFcLbRBb0DjYEhazZi5KT14Ni0nfhop5ZocNdoSvxshinzAHEcZGO6DZUyZ9kauLawnmr4M4SjxrdirodERJTT/XLj5usTShi3S4krmzULAKCQ7w2gvrwapyiuPeUxJ9Beibb/Ob5Dm8rYEq8Rij8tWgGs4G0xj63m6DcHnsXaVzrWVUYIhRX7OvYhXrGnsv0HYrvmoOQrPcbsllRcrst9SMjnJ4Sx4GYfdQWFWnVe0O5WyuesvUtJCkOkksOZDOQnZdah722AQjOOBUF4r9EwMpZajdTx1lke/4+xQ6su/gMG6a+E2hU/sHdxJXjJ/579qkHILC8RtkR9o3E3ml4oiNSo2XrZ6lJ9LySjl0v62SY7Dk7DzGm/tf/V2pHPc2fnHNO0X7xiffbmb17Tyhx+HAG25yxiY+64a6WrPmEVdbqZ2P8D99zHGAR6pr1sNUotiK4IzzFrRqjZ3fXEvW3Yp2x6GANuh/2yhe+0IcFHJEoXnr9DzlOSJISY9TEMT5xtfWOmKa3rx3aRy8FouJ/leB1ROcKMsDzCYFtWGasluNltHLVu5twRJymH8wLj3zyeCfva/0Wq5qDNkyY5Q8LATGUwnNDkNm4aGD6frADdsHWUc8pus8GblejkZp3lq7A1FSD6i/6h3iKe56cI/Sm0o6kEiLahfH9YxqnEN02oSgt5ulGhsqT9lnc4V/ItoPJI29Ha173W8TEkdxDZzrMEX82aohXG5Oal7tbuAFGjEe+r0KKsAEhzp3sg11IQlT9/LFqOwFE5g4WJoj3b0v2eD9K1ZU4nNtoy7mjhpvPi/wqaTkB3KllhHjnf3N13ft2uAX+jD9iSawotNYHk1IpLHBAAb9Z3/BgEzmL1Sohfj8LTOIRlkB7KOTpzEsTq74y6uvXV/1JN10yYsYT6g8EMAIsQ12+fozi8hbjG7SI17YTkeO94maKgjtkjB9pKulQYfOCmWLlkyQL70AVN1DdNZPr3mreD/7yOAHSjwHKOeDUqbB/kvbybQNqC+NxZ2KNv2AyCB19mTSieFJUUValSPO3SFU77ku+g/mnFrf97y8jMsSOhg/GxvIFvQ0PcgQh4WZHHNlo7Q7joMPCNPeAg1t8Fg0WHnF1PpK/qsjdq6vGGC+f5cyN9bVVnLLCzjPl4pB0ynUeWWqy9Air+jxRHz4b1suufmDCfZJ/B9Qw6lxoxX7p29islSg2beTmmGZDh04sHTZ1ooI+bIQ9w864SuHPXkENhl2altncY1rNFaP9RCtE4pkcqJZgguU4MQvFDK9IkYcwEU9OEwp/Rj10aWVcqgOjoFrIDJPtur861f4AJqTJq+kJnVSwsTfU+KZESseLJhsGbY9XsthdWEjwBLk4MoAYLTfvlQD+cwcAegVAeCqJwIWtHYqqNz/v4vzMgFJyUQ269wKiZrRaGoQjf0ctN523QOPVIGLD4P+EmgaFteojDJ2KImGTSF1SauT4hIThxQTfQxx35cWQ2HuCEHM2RQcLuuywQpI84QW1MzRsD4z/C1gfvJVRhvfWY30BbvxrMdtM51JgOxI05wj+v9gZxW+7RvRqndCG5aZZmX0I9xAHhjYLgnZmjo1RNe5Yl1m7h2xqauhQ5vWskQm9LJIEwBFh4LDIfILtON6Z/a+82QqN8WzLZ73GxjOYYj2uM5k3DLnLz/1SqzdHJprZB3SP0EsbX9V7NjaQWta1lsODfKgh41S3Zps4Yc9nRHgDU299/JIWU7qC0RMBCJuvB+xUCWxV1uSC3EzjTbMHNz8j0lrbgPZu3qlXPwBE/VdmMcJoMx2UvIIE0wzI4v8+Xk5wmjBLTwwv6QEmNXqS2E8HmUOUSk257sYDkTbrL4q2yEBg6SuYiemeRMaDkipQvDNYiGuQCm5qFzWU51xNzpmN7zbzHTGaBvL/ajeh5U6MoBPGIIUSpSsbOz1LZflSyDiQ88UevllOQtOkGjY1DBj8TyvVY+WQ6M0YHW9IDAam1zKA5Q+o2c7dc2Z9sKijgaQMtTVXOBw7tpfb9/kxXVZ2drtFMCtIJb/1ht0blHNQGBvq5bnerD0XAANb0v89H/MU8/5JO9RpCauO1EfWUiuuyA9/OBnnzMk+ycZ5TPO1raBvfrA5119Ep0bpr0C5Q+7a3pWvVV6P8pKkbatXMlza2laaACMxiOVNJBkZoqIpeTRELmdIrpODRFkn6w9te9t4DLxSpTj32C5ORwg/ZT3S/kaStnW5+k3x2YRdUSGVgG2P0KlsQ2g3PkZF1CO6ietvH/Bl/ia34e5bopYTaNJWgfOZwRIQk3CDR3gSqTErRxX+MGqrdD9z/CUsaE6DC3DYP8P2XrOetPM/BlU/Bras5GCI1AlG4JYdAYBXFs/xZoPMwGDbgSloT79cwOznO0+bE4sLO2RHLKi7TEy8zf3k7Ab49W2E/MImlEGFhZcLv4mC3OlKMJMWx1heFHvIt2qPIuuVOg4KSmA+cjwbLsNeJOXtsjo2Y8JXgqnjEOJAU386JKD+54j7c6ZisXlvxXit4azI26cPhyIfu7SgGkgbsgeUZWjIRI6ssWZUogTRVvKo1Q2ZR/UhEkEe2S32msdURFgLV8JH2+jsgPtg9JFLttQnEMsJ4jzfZme3oax/MG+43BgueQG3SaU8yk3IaG3StL1LSoXcRlJC7iOdHXqKddgfa7H0HhUPxm7VdW9upvBmI5bodOxlSvMmi1xSw55VOUT+8TzZb5TdHvNQoZ89AKmjsPk7XOHj6QqhEBfb/bT9AJcKsz8mIrSn8C8nv0ehXspduSr36PG6cRm30UtJ6nwJs8CcBGQ4lyC4qzmxDLVq6AgsQA+G9rbJBuWMnc1rQKm96L+oOxhNAu4ty1GRhPdcD8yyAmNGt09WA25JV3RVJ4ERYKb6X45SOL+TtDypjpLHpwKi2/G5eBdSBIGx3jpWxGjwzxgAgsqEglMmPluC62R32UzZynQ9C6HEJC3da45NkD22pLxdMbjKtJdP/TTmAvMrUtoBC80EDE0NC3/xFvbW0vJWxRuvZjXhf5geRWzyIzaMNYAVmN7Qi6iCNbe7j0SHyXtOC0xobdLWe3IJs7+8w5tjhbj+FTC3UBHbkiz5VhwIvm+2iZNoa9Xe5Kl3qK/oMWgPSRh0vkRHHdtko9kbgb2lx8JylnM2Pf71fTyznF23GCi/axJIe8Eq2KiJ3gTuZHeyJIL5Q/szyEZW1Xmi4mDgDgL7lmt/0FPWTRja8O1kR6knUep0LhuJ9WatraV5AdjCwjqV4OLqmNar+xKdUQK+IPfBKLoDBVmQgBxOmcXQpxEUhCIG6SAnWdFnusBTS8OVSeQrN2whGARilE5lzICbKD61k4tHCt+w/bq4YRfDPh1JXnEIIPcmHRcZAr0QT3NBwTudql2W00QDMAU9htD3Ar2UE01FRpjdi5cS+sbX4Mhxfl0ZJj5QhR1K34qEMPVxbYkiGiliomMIW0C1Ljm9QY/Vnyx6t3SWAEaTwZ8odu/fKUs3e3reWy3wcHWq9hSxnBC8PCn9dTuYQ3NGk6mhLHX5pXMM8OpAz0AUnoNuQvPLvB3nla4Db4C1ysA0lfcanEBP8FI92WJmDNbz/YHtpCV+TlVG59W7oYijykq6c9rzfMQUic2JIvxAk6Ulzj7J/wYB8YuZHLVFaFzvMlMg00GmkeWzNWsEBg6KSq5Kt2XkLvlXfXWSzbxWPLVYyvT9Xnuz0V1CA0vDiR0p9ubuc+IcdwtOf7z/6Kyg3WoxcAMDkpHUKwTyqKmR2+nSVrKCZL/TQ9rOV64/j8NqkdYo13siKHEiP154146pfsnFTuvWyLi7NADCD6wvD3S4vFQc4KfJ1SnWN0ilUtm+w8yuz0QAb5rS7cXDKO84wgFV+dv7jl/1HnWPVRLlFPtOaOlwsXRriIxiBtAXMTc+WptVW/2ZP3LM65xz5imBbm8kfHjYrLuxQcoPNJFLipVFbT7O3IxgMzCnPP3Gs6GJ6v1PRShteXlBiqXikI5OzCtQya2yKGUCn8ImeH6FfbBZ/ORySssMgBQ36nIiV6W+iNQFcra53gGdnU7l7FPOtbOnIKlWg72zEVtc6Q4oZOtsy6L+p1LLe8EVV4DebGHh23Vv00eHPlCjJYa47GLDUP6xd90+stcsB12LQcOYVvf25uI1J7oQqwvegeBADxwD3UC6RmLmRJEck6W1ylDyuvcx7nLoHWXBvXd7cCLaqtxpRB2UjBAukmgrBAsehMpITRNYjAfKRxZu+yv/3GdPt9CwFlAsfOJ4SODQ1kTa64TTxLRwOf06bPY31ZvwML+RIZk3yqcgf0cQRCCp4j0sdqXxI+KCnVyuIwZTuclG6Ud7F1S9l4XAody7z0FPMTAlETR8nD1KvHuh83DiUnonxXmW/vyXacGpMFVa4s+EW+vCjlzpjdCvRS2spMJa9dfhwEO0iNuzDbzSFKXq30e6zCwqsUHdB/GDG55/Ixu4IgGC6raZS02gGq0ZKz3RykYYqUKmwAoCL6EI6LtTHXFGo1Aop+FHwfU3IZAGto9SY7qkwUTSWPf2RqqWdMKoDLR/3auwrsBDGS4sBdgWrPTsrwWGwXAAqMrLrPXbcG411O5Vbth13Gu71Jy1V7vlxpmzGV54ApsbgPNSawJfQpmr9UEz1VlCDqrx+Jm9D4c0q8Fm2zN2DeEj8F00ZJuOKPwel+e1F11EPr214E82wBP9tNUhG2rM68hNvSW5mqycBgznfD20Ip5yYAFTiEVEwdyXO4gEG7wnP9/FRPwUFMufGbMHAcZwiyM3wJgfSgFMXtNB3zq0+T4cZwPHfJryadP0N9b3O7EBbt31QSB8Zd7tBqfO8sjdHAWjGo7Wa3DI3ECGRBNcc8ZU9w9heUXEw1uTspZQtPX6vE8Eewj7sWdJURBQUrggAZD8/5a9GCtPBjXq1E9f51mrvZVSnavVwJ4iOuWmdtrKYdaFXaI25PjXbF8G9uIqDNm/xuhPcFx5M1ChdbiJSX7nkkEcOfd3IZvnpORqYlBxDxXrhCvPISL0cdL/2FbT5U0bG/+yo0ZC8pVvH6z+i73m1nNV24WkKPOdS1JI5V+8o1kG6lUx54Tzw7Nwy0FLxqgwSpm/a3pwTpiwh/7W0Ctikxi2ipAOUlCILFTfqXu4svFFjo9fSf8akS515O4xUVn0LCv3W+xHN9hZG1Kj9KHWB1x6jYiEdvG1xqxqjY/Ovid+SIfSSGKLnntpQA21XEnnmHNv9xQ2Syu54dzwlhPPOo9ABkSLDSaKkiCXq5ANcHLOUn/xg/MYsQmnkqG/atPYRl6O5OfuNYyqjPGetJs3Qa4vcD9Q3qoRLNUINbcdqYElAf3VjtZDjUBazXxqWPo8k1UCu2HJQmNda6fkQenztbrdrbj9Ou3JcKbLmJJihxtQccxXsPClL1GjUPdZAP7yMXBhU4MUaafTiniqIHzpJMEq/qNnjfG2uH767NcXjSxtWhN9iF6jIo4Kvm5vi0kGH25i0xTLf3ap+xifWasJhl7yhwHBGMswunB4hNgC115gvtPQtRN8O+e3R432Yxvg53Fat4uvLMqnFkIucS+65vpjIpoWGKee6qaCtOWvmcK44KEGTkOojyq7EaOzQuWR6rWNEPIHVZpPjjLhulvgDOmGd4h5G+xKDHEEZ7RuF2AA7LKGwy+Z8b9QKSlk6gEiB2zgTUyhQYvvdzZqgZsM0QbU4vxcxTPlE6RYltHCVnk+qMAi8zvORnxbEX9yHXNtDQ4QxTIKAms24e+YMcBCfyz4KQym5rkqBK/iF5YOI05urEJ6ZcDnip4jdVKuqT0gtXYOyjfTyoFkdEzv7bz4pKWE5y//Ix4WePgA7vMWgrhqL4xlilLraTpQMqK5E/NmMEOGX/ri+aFHR9douLF4BSCsL9yIIm3N1fd2oeiwCyPd4SQs28sq+kWra21cZfMqhfYRYkmkn7t/nzvtBzWnwahe67Ce8nkPWLMq/qI32RQVNc2aWZXzIDkQj/2xFys+o+4sfRET8lJaIH0aqfoG8FxYCbbqWT3ksQ3lMudqWgkkbK0dXi8nQMvDISnHGG47xPV5MSIYnwG6dU/kVaMsTzHXhaMMny6nu2ZS0lUo9SoVhLn8z0EOtYxMxPUOPpriF6fohAxAN537+1VQwrVwnA9hGWP4C3ZryxvUfgQO7ZA63fbpu42idCAM3oJw8u9i/P3c0waMhgoilWTNEQnKSq/oYeW21gIQwJuxEYPy0SmYRIiKxV5UOlMcE4oF695joOr5+kpDaJ0xcl7iUq3cKQp+e/r5N4akykfkTNO3ATrzlVpASv3h0xJAmDSbr/Acx9nn1lhXSdxGc+DoKs5NjfYOPRxLKIjs9H1KV5Hk30VhTfxnmcIqK9uXV2OI70XJSPbHSfivwxygjvQ0wFfev9Yr5HU7DdMBBj6LRMO/diP8emBh75ZEI1Dy7V1ybUsGfSh/3IE3EzAH/24el0tV51TOu+pKY8cFaqd0gXgeETVCijsKUPT6WVvkvSvurC5qhAN9ObWJ8NXzqtDM37w+OqC2P4wWG/96+9myWGvllxUBA+6hhw62BUxc9dvIgUzCmnd7aDMEppUE5grYevBslHpfH40CBv48WwuTxNBctXazJWMnDkdR7UYdLe3soi7bmBjeEV7S0r29aHTVRcbDDx9FdS53uDROncYxOGVD9yWeQdzvekvcK+u49iTb9KJLITo2xk+fa7GHL6QdtH4EfjZXJtC9hCT7FiUhNTRZz8joGHYOuJUcM0WkfewuOiA1GMz5IesrbokKOIqei0YTyM6ABP47f5gTOMRsDU08ba9eHu/vv+7JQrF6/+OUB4MT6uFwRbk/5Cyc0TqQ5loAVDo5NLWmZmuw8uUy+csiUvfkIaGmOUs1OVKkUmsNlDLvG3pMxJT6A6myJ3FdLlJ45se111mqDRMfPoJs67W2IDWbYC0Zm2myJvp/gyJ9m3n1Du3rc1EevfhFiaBF0IZowSnOnpHTv72N+zebn752ihSHFs9XEd2kpx6NgwqyadZdcso8t7SengRLUWTzvh/iAdVTdTwRP5FE9A86EKAwyV+Ya7ntbwodklSgapY8Ul4MGFfm27T2EAdvchzUmhwK7h3Um3Eu2W3amzatwbsjOJT6BN6bFER/QdMlwlC4QQ51BwHNT/ikmDkyNXac9Q1noLsjGcxM+HwedoK46UPVE4gdY86W6I5R/DWWXZJT14IvEi71FTRDe4IqwjegcVB14kqlTMH1jDqmQZUQfmGJXB+F0g36DgrPZKahOypA0y8KwDSYatprIiq5SpnjfBC7ypxLOnKwM9LyGrMtou6wjX113PN7gFKpgkQlc8eUNmjuxJ8VGQXqrgXSv7g9fhxNT9SWzZh9+ZVvS/P5EGE4l/u2jAx8kfFYCkBS0M4kAO8FmScSuJAPDre2c5ETiTNZEzrhU8DQYvxsm0z2ydlXEDWLJypu4UqoWVf93sLxoUQfQyDIVPv8LVKKsmTPYhWnub55pmSO7+J5WYssBDGyvURZzpJt8iH6nJYIOjY3DSTZ4/uItjJQCDdjjo7xBUsNxJKWdzeVmA8PzZ+0nBQmX/ecxFlK5fVbc+DdV7hwIUdkecu7DGOEqOV/ZVrEgCJdclBTouqpj/iqvBLJ2KmBHmMff2Lb5vhvzkf3tfoyaj6g9NpWbX6nENgxfrLJSqz2skRFfnnQOegzxHxrJJa+rYHPcjM/UIhK8Z+nUT08xoYrhzmOQA7v//98qDY6lakb6XclkFsVmerPJN3t0sptyV+45YOlhWe9HdF7V3d8BrnW/sgX8ATCk3l4nPY9kI6uJMOe3XqYpXuiYrc8MzT+4JRrrUGvPdTJs3HY0QPYpCKpslxDgYjJ7ab4qhLsvyIErH7PSqCNjKexf+GKtMeW7f7YgcU4lCGTvODMZdOdai1Nfpy1/dQoye4Ef6OIcT8aqiKMCgYxMykf2K71B6apR2QlnrqVUqgD1rZgcFqi5yku/W2QjQehsVDCcVwmcdqDuZb+wxjmEE+Apy7/CAXfjcAsjiNgx0JnTsvXuMMgY2QDxi4OkAzjyrsySAWZvRNXmdUkdhFX/RL++DKLIaTMQk+3C4j87UCSb+WGOUl2iVnGYKTgh2kUBBY57xAm44Zh3tOIWdBwU17HE1NdSLPfjp259Ale4KdIaJImPw6+xxRNFZRX+y5HCOw/vu44XATv4xSiD6IJNjBWO+olTk83JqITI7gT6wHX+tXj6coHLvz8Tv2zBhWL+Pc115iALhdx8Asn3oM8DyXjFHl5xs91tx1WWqbzf8hlwGUEskLoaLnRevAfnEisURd+7w3J9N1TjjtqicUvmLEFq7xJbWOgt5SIQ01EXIfX+WUwUZFv/sl49y0lp5oTL+MqUQSUNKdtAt0srr1SOKgMtAmEykecUX01Dm4usAgt9DDfmZwFRzU5k2UO6K+wn4OyillAfwBwa8sEfAIT5uRqDOTNvk34/Xt6eJvFGCOyyKYy4XMRyQE2Sx4gSvvEfHlX58VIemufKVQ+eE0g0i2LAxcNqv0jFAeKmaeZs+6AlgDYguxNM6bhehSLc1jKyX3Tz+aqdRuW18CPfAA/5DJzajc7G7sKv2+k/hW4xldILUQLTS4s3sULLSXZrWuYBFG705p0qLX9JMgc4YmwyhDYAVpXxCth7BPs2MQTwEMt+4DLWIjln67KV0SbwiFAoV6Jp+u1IP4wh8S8us7MAtZmxrlsDkUSXfsLfAnY0MwvwI+Yz0g5IMJAXo+iJ9H+UJm8hM4x7sH4UkET8qDo9eLKvHDAZ2T8LUd6f/VZvAMc7DvsWe8rngtEwCA7iS9X8G9VE05YlezEBwMfiXEM6/mK42+Ih45WmKlMkcmi6BIziuQdKlmSQ5pIRC6dtrDZUQqVfYDO9r5klua7WX3slcOGtSp9vuNoCB+K4k6TSdgfczCQo+SYJWYYG12aLe6ZZi1E5QxAdjbR2E9qrclO7og6RjexCJTy6arF+ZLPfVj+T9WAtJ2A5hWuAqzvrRGX56I1otU+Q1XkgZ3ieRk4I51S7E+MFhPlANc+jQcNsTg1qqNMX362Z7jDnLdr2K+4mEj98m56/JiFQewFvjEkSeKaBCL8VmZcR8dadBuWz4i3zu1vBFYcH+mYuzsAFElRUkEW18qchAJJ1NrlXnphpFLOwveDaj3gkYTP5PdM2OgPmtzhS46ZGt0UptVGZQgrHMAFURDpHXrQ5THzeJZBxPBpqgiRH5FSisMzxZgoAT59bnS9NxK426gvhwH8PPxMtSTqw1AiDqGv+WCrofZsyDPTADDlM0WeMVHoE3EtcV/5znd+2gxAYNOt2MJobJawZdLlSuQkWEs4uMg7dBVJjjx4457E6lb36Qm6KERZhcIOFc5SxIx84hLsrQ0YQS1dmB/BFxjBH3b0sdcQPvpykay2/qUqCqB3+RghZmmpSOe0I7NiQrbHbaJgspis3SuPZq3XsFVkabXp7OP023aZtFrrXGemv7iOTaxSIAdupqfPymDcjV7AGvkrhpzoME6TfwN4J0QbSWYG4Je33afdhwqOyeaPCu8gtYUI2xBSkobwUCt8Sd1gt+0OFSm/I0Wz6Yb6FZW8rv71b3OFU8pEwl6zhWy4B14VQBxeTup7Wyn3SX2yTNel0l8Cjew+TMlHlGbo8vKTnjr6j9gPl7WmVP0FgnkNnF4XZWCY0KkMb1awiWSQvLkwvtm4QNgau8z/N1c/9Mj8seL5RdrI7XIb3MBrxUws1I5f6kr20gEQYCcl2XJDL2r6Ly8zm3X2uEBWuEEBpk5wUY5u9b7vLppTLOKeoKkCZJE7bYykdSXgN/I2+c4NVJ7OItxLEgdTqJQE1SmuNdLNikqKS5aXl6CfFjLP4+BH4o6Zt98G489TM3Rser0/qDUL9JiAd7GzuRKwT0cNHch/YGLvlp+xqhiY0lQucDMRsVG4hllK3kW+e6emUgn3teA/PPYin9rwjv3NZLF2aMovLdUNfOIjrxUAGHYNgbQ3JNMBBnlLj+MJ6JwaIjlIL7hhDT6CCIC6ymmloA1FKKVb/pKnydpnQzUeJlWNcp+0flPzJq/zpjZh9jy/+NBMLwVmr54Oz5T6gzW13NchkURMOWSK92m+hv/SRhGwFAQKOLi7TUn/6vs1/vRf53xYv9l48H9mvi2KSgGUw5RnAmI+9VmvLWd2zklKLLsV7pdiNgmZ7XzfdA7HXlGz5k9WqQBKO3vW0hDQkAJHfvIZx122/zSM3eTJx+amjIcgdsp0ZzLFfz/Y1ZRxZ8NlUqAVoUQDLUGqtj+vHzvznOLonlDhZ4TryolMji8UOdI2oGORO4VI1wkupC0rY6P3Mi9VUnk151G9IFPGowSw4bIYG26REW70XWg5hG9USwhq2K1h8bRn/DK8F4IBl8NP16WRQ9IcDAgjuXtBzFpPhya7xguH6LmhiTrY6BPb1M3R9q5e/zx3/TdH3TeniowxiVzr9bhemNCcTc4rBzYdcORJ+F5IrpnGZ3w4lYc9zIbDINqarJMM7/zsYq6xJIBiR73/pmi5t/RFw1cJBgDbFTs6cqzJueRFUp0F8cUerC/UnPDmS056iZUofAfjxiMqJePySsM8E9FI7sjbPnE486/bCpuAGiS5zQPz7tXqv2ufJ90BWeIxKaTdV+RHZ+C+k5HvuCqyBFcnLjdJrbakzuKTDMKFOFzwHQK4JptqyKRXmDPJSHQCTx4N54BOQmG87ARRde638rqZgv07RNuK+qEDn8kOBzJ/IjVBkDhgAFvE4Th0OXqhHoaStM4QxryxAsjX9pIDanDK+IDTETF1yE8GSVgrPX5nt2HNCz394AnKJ6omVGtjGKdqvJVWejudtUjv0HeaKzCoquJU82OMIC4nlmuQubS8bIz8/d2UUu6cAjlkgPKilwJ0swHlCas4Trq8xaX18lTYpJVtJ7k2vPcFOP3XIMhIiVUHZXWHihgZQzV/Z/xAOGwQ92Cv93uVv99EKS6fUrCYFFppaEba7pLDnMWeeTeWJo1JNYy8IYUpHbGu0WAZjTNVRwLm6Z2qZXT2xIiAeQ/5+1tNsokk0V/PawmTyu0HIndUJVjdsbtJ0ZoGFwgXLsdSGPGU4kbRNLpwF9UZBuW98HU8txeMCTYkQb/xMCzJxM2gEy3xdto+Qzw3OC61Hz0guJA3wKCHD1nybYLMGCsG1gLmAVmF/sGYNWu1Sm1FySS6iJXhtZoHzbth/x5Ku1UW6UPaRVXn+PuK+i1DUJ9YJQwtTPwWwnHThScpMqrBG/mN3VyhqJqLGw5wB4Zh6KPgrm/+O3fLbaDVMWmJ1liUtBqmKPRUIWm4g0n62G22BKBStw/wvum1EiUpB3RxdrFtdVQarXSA05XWnJzarYNmWhzqUq9Syh4Ip8rrPeXzpvKxve9mEMAFKhGlaP7hv5R9/M7YKuIaWKaM5Z3ILiXDFq/9CDcM/ZSucu0vGsHhWXzLgYZx1zlEPehOXm7jbkKb321PMJMEbqp8eAnDKaQgFyTx4llcI1wLebO2cuOrmF2Qo8gtK2qhdNjNa7SXCAxpddBKnzNDSh58dLyDS4io2MRS5tEgxdAA85ImWxQ+t0O0ZrBTBIAhww877jH5y9poLIAUliqel0xCw4z/9siec7cvZEHuvrledEoDrWyfikw5uyFTZjAT+wbPUdZ3VZbWSX8nSM/zw+LBQZdRRlxA2cYlWcbx3yO01znd3IGMVAVihVGeDgcNgccqOIv1uB6Gq8P1xNtrLzCmH2mFgHja2cK/i10eubn/mamcn9RXc1SQfQIXk5oU+j7ONCdT1Koqkkq21Md9uiTUWRDFQIcI7crXlFDd5i7fvA9XxQfhAYgxqFd886sx1A8PjpB48uNoO5TzMz5ZfRPJEx7A33Ncnk0kHOY05JmeLuH/I0xoeTsG0qs1MWKr18ytRYNZlvxC8FXFPw/iT4W8pEEzX0KB0yFa6keMjO770nFRU3ytzfq0v/J0R4SWV0Nadzn11dmTHGBubP/IzEng1UE3N0Vh7yBHxiegR9HqaTV7ID/CmHYWf/j1npYCgbBiNClXi89WTDDy78JI9Rns4ac0mSXYVZiTmZ/fkfnmZoThd/4sxlwyMT67SWI/eYTnGkBgeJhcCpbW0khakAFZElT4paEjbp/WVSWLAeKDqIQLkrpJHd8btJgCPVcHGbfFAt45t+0VSGOXhEAkjYKmRfFpU1KeYCpX2K04C2L1fwCHFHuOU8S3mXnf2s7IoXSNavjsUXWXGKLkRSVyZ1AG3WHEj3PLqWH3w1s+O2VUdxRU6WSP5RPCSMoNeJOveyNwjB6twkK63C7ZU6XGriBJwf5N0joLiq7pBW06w3YTIJjf80Su4hdbjj8TWVZXwkk3Fmzfu5KYd9x/1b+i2zwMG2Yc5PRcp+ZtO8a4bfOp99BCtJjyF98erZbUThTjTgxZ22qHMFDtw+5GTJmul7BWQ0lU2aJX+TRv7CJfgWtxVN6IFdDirmUWtJPttwLm/cIli7Z6aYqWQzDqqr4F3ePmOTgbApzcCr0oPF3T8BK5+VPahmJsBfpeqXHCt1vsk3AYVoVgv/bcDsgSXgUY2D4bMsslzIDD6xteaNVrv/Wqee5wzyzHmScsm6GHt7DWHwQxFVffwelK1huyu/Uf11pNb6B+vsiAK9LXNVSpn69K2iLgJYiWofWqSoYKT1KTjBUc3BAqsObSqfBtDnVFNCgcoMPpC0Ly2XqZdY3Pn/cavz/ICooLC/M5ET9kcmdYxIBfUpJh6mGRbV1FYmwS7G9pUoYR9kF9irZ/zjRV8GYPA/+XiHmv3kvnQhnrrMDVpbL833DnIikcFZCrlkmmFgYz09NJQD6PS2sADKpvFNsFmrDBNjyaKOnzFJjy2osEa2hkNMA2te9r1PkRr/PiIHDkiczmAKOUmTo0uS6ozH+viAtGlvg39GMdIXH0qQC1rEgIIUTqRjABjMZi79A8kXpTPrnOUVuH/d544AfWc+A6YNEYrbBj/jJxm3MncR19YYkBAOfE4y0/xxqlSo1E41OOE35cRmeIzrh/8VtM3w82ad1jiAHcm/BskAkFqMkfp3KrQah58hTQqrXV4OCRd6HMQG10iU99FTdMvrQ84E5xi7fcx0cvXCtdOLLh1ulknx2eMZZkXDgKGzNBjwxAaoEw66W6+1VJQ3OjZQE8MApb8oEU+4fDh9cm7u/e/0eiOzIvDAu31zuMVFwbLMbrAKQZO8OioftlLTWtEtA8jnolGUkgMZnowyKk340EBZIatUYLdvrD7hsQt2f8dOwgWvVp0shXEhG6FwkeC38wEsFZga0J0d+w6h1xo/TzF/B1IGpWcZubEnmMIs5Vd/icvbTmW5CqwKzzOvUDpaofpHKKbU4XsUIxmdfOYQDWcfWGsYgYez00ttqVwYqt7A0Ap98DMRYmewIcxEKYzHq1vz+0/ByLCkc3TuKmtpWYuCD9xTw5kr5GV1DpS4ZtKO2tqSHI5uHRptEUB9u12qGaGntT2S66QQBPdOXecQdmWfhTHLKOnvVEOXmqo9SpdDxilO6i7WJL3+ng+9rVxsOLax2c72vhm95D1+PpHs4Xb2Sjf5C2CYORDQcVzmdFP7rQgVrgvNYtvU64+UvmAwNb0RYTRv40EEKffyJRHk9AZMrET+Q3BhYdWogHEwQnVkrQO4uRYah/Bp3I/iyP0ojKuKC7fDf+Tyzx1FVp3odpWBYxP67cCM2yBSjfVOqpM/wMfJZwAiMdIqCuxNfo0R6DGFkUjO1elEvl+ctzv4DDQjtfZN2Yl4MgPJOT3MHFMUmTYDXJl928/X+5XAexJgGbYDATjg4JraJsirrQMJHBQymri1iXqkaGMzUWJRd9yULgsWuY2q6mfUkAYtlWJmOddwqIpzN/+3tOQH2dEwMOkwcwAhJNBjN6Eoy0Xs9cPrJ2pNSMUhDvEyP1bFJ7dV+U41a6aPB+/rauE2RJs6BnzX3titrGB8bJf0JD/Ek7iCQqVdKeJ5VG38uU8KiHz3TiavILrGHAaeKN+gLU86Eg7C3BbLZOWuxz2RlmHm/wQqWvDgVB4pMEX3CWr4d0ggssSdviM3Dygj3Yvd/F56iNnzRTmwxuSx3mOYP3/ui3MPiYmvlRUv633CUUnzzjxLEuK8t2lUWJ42yBiIXj6JulCn0o5318pnQvO03c4KNW3gtzj2EyXT8voZ8y3wtuKyWEm8g/EkrsmUOpBjsAVKC/NaOIHiiy7iRaHdEQvGxPLMZIym5RvBJdgRCSNM9Z3RlJUE8bYFcy/4xfar0Z8E6hc/qoHm26q5BLcNao/LZj9OhRecIbwrQGwUcCPb3v6qNgxKzKzhuvwlgWhdOgafETHI2F7bO40NpRgdQ9iJiy6DSvo7iI+TkT0MCn/hH/eaZH4SZAXskGgUXaro8Gx+D+KpSGD+E8vw6LAiZUxjQCv2E3yzr7u8QsyJCEqmXXeDEZcCmx8kAa0bU3k2CxLUDdVyPvM2h/pBZfpESvWf52zWQELu5q0gBuraBAY7T9oZ+IBh1fYVav96aFWhzIXi/E5cPFu3RjMcZG/KZbZ1NLBGTRQ0ioQUg/G8Sy/GhDLVQe0Gh28RVbudtlhthcohhf8XTiLjSoEYFZUJ0Dc74N9G5ZoRcp9HjSpHMUG62lPsXxKWN9q3E/Wn/4nBbgnsqRSS2OklCAULMg9UWVL+0bqb+ZUeBCvhqj7BRcyLAtMQwls9iuMI2f15nOCBqcLkSWHOgSzDJOXMUkSPsObjWYS+Bq1H30EiCP/Hcw/v+j6N6Rey161gxVFTLzrz9Jei8Z5EggtjPNeyTdYtElKDObc8Zkl1MzBKO7rN8RjSloh2jlN69HVajovAZ67sjYOENP1n7M7ukg4GvSYGChkg93ilCLmGRK0Pb14ZLDUlwPiUbw4qHIxOrGDGN5E6y36OPEdCWIYbUHRPvhxUU9jytKhjnN9LL8EwMqXrvczBr4lP2b6zuACEftLNCHNTF1/W3YT5UMda52hgwGtx+9QWEtfdGOWo2eUcTK/wBqEo4O4gor1EuE+OyN2K71pXyHC418/ImpgPYXNLWTSM0J5EkpN6WKU8o0+dTmRAfpXWaPY7JeR1zY6VH2bAwuKKIH7iJR4rWEcjKsnkCB/t9x/cYfkealqiOTz/tR7yXjedeKcGY6WV0lQFtYdRLoDSylIcVW6chuS7Zc0J/qg2SnY9HzslO3q63flbrBpMVDEtOHyN9v9lXPjaUQL8jVozynk9yqyUuO7AVSLHS3/HJ+xpJ25YMJ1J0RHoIhXXE9Rv7nydILjGtRL7pML7TEiyJIjYY/y8FI2Ydu+9jpPMR60jptjjo2TCwCLnpYfJFoMxEsrpJKmFnyeE8o6efZAWg7VWMFkz7RLNqah44eVAv58ZGoNBbTjgAW28vfNV49JQxJg4beE21PMSo5OOeDmcYbNPsSoWjidPUU3VXOc3fn/2DD7QHK0qCRv3KE2rYYKBRkx8mUSZ6J6mIpxppn5WGzugPeDLSXIWmp7YQKl269UX55BLHzJnpAz/GAQCMFflyl8C8WccpznDgzSI2cY9k/hNgjduwhdH5WEKWSjymtZVX9JJnwMWtIKmOj6uP9WHUrA3WdVRcb2mM/rphcYe3SnmKG6EQHLtb5/gRiAJrWo4GNEtZqiBzGqkLfRN0aeifEGda75PkA4xsLU0NOgTBIv5K658nVUtTxw7x1LCTatuCBFoaJ+/3jOdNHAfhelHG41vAV4Nuo2Psk8q2WwwNQJKBjPFpWOsARhTd56Yyr6OHtV6AO5tEZgamqpa054QfAb8rOMW45VJHQh2j4TE/1VDXOm100uKbBoNZpCLqkp2h4XiGFAsa2qqoYSuuSgu8HLf+HCAa6hPj4OqtsxQyO0ISowaZ9hYVvvbWxpbHi7udCnh9phdTCCfi8fPHFdBZfYy60Sp4KAFzWOvPLbBRp5niYxQx/7hNmG9KvyCK37sBDjZljcPYhVbQCE+S2+HDadfno1a8Eg2yyLk8Ngj2Zu4Pkndx6urnHSCf4ZsN02WPJbiWHBnlnjenE3lmvpEBEW6HSyWhvSPhxHP1q2LQY/m0RzW6RWQTM6Yg8jDnRgF8QisEFwQX/J3aZiIoGcHH79SvdRu3ccNwNvucHqCQR3i6FoSl2d+C14ClZZyc+LZXJfljkx82XTNDfdqGoDv0i9TtR1ZuRkqHtZ8qHnR+TxJC263GClHsTeApVSrNsZoPur4wnaYDNXy8KxSR1KL6J+oOgklNmr10QckVEdJm9jNOzSfBs43zwyF28NaETXzxrn3LB/HwKma0NtshArmz/jpFowic4dF1UX6sqsTAHPoRJRt9lPhuKbYJTjPvahC1HE2Kew9Os/zU+iavJvgYToZy3IH4LsUVjB193WBPV1EhniW6KZpZjaXplTjk777pZH6m/23PjAcPCQhhdnIEyiMD6M1yb+C2pmuEOwyT5cy+xetSyZX0fPq3GfAxUWD+WzSvrMa5U1nf6DpHbOn1Q7E1pvC7pt2KN/FNamCkgS3ApNFnHALV/PXfABgQXiicFyL9ZIarWq0aVKk6FN2fnLepzdatX8qv2iHidXu1Mn8Gh9aaW4JghxWFwIgGdmoBGNRJkmwRlvc8AdALDmLhP6HrT7dxUAdGKs0YXmf3pkRwpWx5k9WqQf4a+q6qGmuy3LqYTTk4VzUiulqobSOzXk3HVN1r+4MXTmeAkijVJlU0fB4/dPhuTb3zjEGDwEBAzkJa0xJBdRfy/HqE0FxBhqUcqUREaZ/T6LYzAqNBnoBAbE1sTR/J+ZtnCeMfihSq1R1ismI5LvmdPbiHSf7a9TDWySnrl7XO8e3VHClhDWaT2debbcdVCQUpVwrQCTtPSdJIuDgdHaw5zxRTwSAhR3ytzargujoDc7TFyDKYM3ZV+7JIfjXpyd5vNk9hJOBOXyZ83+ekN7FnBshvu1pHoVRNM8rUk4KRYU6uc02j/ARg8IymZFyoJ+iEa+Ul6unKJz6q+nnsJbjdq/ujVwrOYZMWTlM8ufoxeQpMzE+zaJWaYXX1yJCWDlJp2Hj/EJDAg6hPhwUvoHTrFScui5g+J0r56GgTbwYBy/dN+xtQCRwobGoJdyLPAtK1VRqv3n5qTKhvAc5kbkhi+/qTRPbB42b0d0FV6Mcnraa2YDyQlPnDo4vbkxD5AjPVIJzPca+3eDclU2FzYNilpodykm1FbiiUsta6FDortXEopuR3ur0Rz1llSNlq32NPKTaFhyTPjeUPY9/HxCYccsCp22JX+vcihfBr1UadsR+Nkd1K8IQig/IlSTW8h3z2fa0ps1QmmGT6ywVLyA2WnFpslyPwZWH1juA6eazZ8vrQfbbt4joLTBFoD06QnLLKEEovCi+a3kRTwQt7IRlgvTjPlEv28xYBjRsdjkJLTLSY7ltts27tBWC5AMs5NRVcvL1GhEduulgPMytGbmXYFzaP2pJPUsKA2BS+NU8MPflOF9Xg7iJ0uxI4/GJdVMY6Np9OxQXNA5UJGUC1dPLM+2VLd10Ho9h7fjZGSx5Ty8caPxX87sFBErsKmwcBaVwsvFiPgIzAx3ysTeI27FIv2ClQdJkoqbP37jJtiEoEDpwi95HT+SIq90CjKCM1+Ys262445I7DZhNqqCW8qZxXHR2cCuRWBR7/bWUY6rH317dLMLnkMKRJBPOfbV6sCYi8oO0yMsMa9/He2UqWT8wq7Udg7gESosg3fm51IYRSXdltMMw4c44+FbDaY4rWXF+l4qqCTqL8eMXgwXtsq8s/Y+sigGv+DbbLaRH1NnALrGT1pAFVfNk6Y/cVvsgmtMWjTKD5Twxcd3GNAfM1iUgZsJwZwXTq4Nb3YPd18T777Xwi46Tx1gQFzAw+kybd4AEYJRW94LIsH6YLOvlVMQsrwvgYvtLpIH5e9rSmQi3aU982dv0jcmqssDA6cZusupfV/wq/XW5DNdpgtQDZtCjTq1tkoAl7Wn11nce6kspEq0I+qfm+ZRGybDsj0BlBaU502/D6/gmOQKbcMaq+QsK+cZ2YAdvFCrWvRYxVgdSqnRlYS+TVo0tNGf+rxAW9R/PaWjwTvpEXLnFTsOjNctROLOxuPu+cxscNdKjRI9bhqRAz5hTGlg6b9vlCrONaCCO7aKSiBkLVJtXiiWwGhs6p0Vy5VbksOiRw61RCaO+6xMA8FeTxK4r/YmhlGFWbwV5JO91wc6tE2pHf3nkzPoYWlD5VvO1ZcfE71kUiRLyh5+7SW5eqc4rKDO2zqRtuldtdx3L75vlzXOv6FfxPHoiV/zSuQ44a9dS523D90asjVVSobE4+HQIARs6TUj1nB80z1mdLyyEHkpXu5pljuVXICEsJApxRImA1otIasKAnMd2hYUjMVj67gmyyL0UHAP9Bw+6ydMBJVbbyjorCrawrmMZ5o9IwLJYwkHPPsqG4qBs0kbtCsFfAxpwpKr6qZBANbj3fln9mAAvec1W00FpHK0GbSxYeVYvCpUbXfkmhamOEtbNjrj5l6Keb2nnZenbjGvcR9k1S5xthe0twicOhAaxbwXxzIlyuDwX2c1jwjquIkGwtdyM8Mu6VzdrmACU1AAmD4GIdw7+zzmGDao4tLNa7vwIycNXURGvwirVxAPJFobRg+JwEw5yaoaEz4OQiPrM9L21H414LI/oNmHrTfngRBjziqFePrv7teWflnVjklZpPjF0lXxvriIBG7U12eOk486gLd7WUYUnqRC9Xx6zioiwcclo81qtyaV3kGeAysbILvyXPCBJHXrowDy2wBpvlWPO7Z/BaA3B7YK5sFF+1G3Nf5ekuNFJIQpTKyBR7MaxhjAxDrVpVhzL1OlmKdxiIC3UiG4kz+hgRzd3mDnwbaa8100HpOjir0FIypBiz91A0zKpqaT9Gd8HLIF2Xww3vXbUqbclmv8V85i0k9nh+B46ABdnGmh/OKFa5RW9SKdZT4b/8CL1KO/D7RzAPYmr+7ehtf9HXXb3LHv8FFeilKP+9pF+AtIUQ86yTnDG3x9n31LgCkMPdz/h0z3Xb3+7W8B8bppvCgC+rAqjheb7HSXugPNrkMrXEHJyAGvuqMzq+DCtQF2EMfFJh9JqTXAI/xD7zs4w+73lfBZRpcZzoeiM1neAie6ws4arkt0kPmWxw6OILSumuycSHQVfu4WByW63TZDet6G9jZEmG9MT4yYHE7Omz2JOGYaIvrTJJvA+VbX0zvqpjzn6kwjI23IuNbdrjQFfkQsLIWnsGE9drsGvQ9tYZ+2qkCMGIH+W3Wvdg7uuMyrEWLtohO5bxH2MpTo0UiwBDPIA8ITHn4VCNkhlhMcVHo+Jq7NfYdkafWfOwsvaFOHpK5+I2SZMRJyVQZQ3aQw/0zoCRAwb5mrt9Pm4xhz9A5QHpBpzaAlxrwu3j2V/Fm/mP6KMRKR4xhbXvczVYuYGeVEh6W9oce2GDLyz3CHOrkgPzYZHlduIyW2t178k34KPt6XjipbwDp1KYEGgWN6h5GmpHqEzSbFAPjgPffheJNDpjiIypXGeYJqkfsbW4JkRZdqFy9abp90Fsi/WVWwjgY84hoWvrjF57/h0fxa5s8eetHEapoH1qhYck7ZUBsKvtH9n7OhNn1UNmvD3D55cV9tORN5H61SQpiUweaRsWmMO1NxpispMwkDyK6pxObN2s8RVxThdvHwbFLI/kBYw3L6FVBpydHLv56KCOG6Aaog8MokPmWV0c2v3eXkPWdd5npZN07yMq8fS9eQ3rYCJdG7MPYkBW7ucukl053WlsCLXi8aeegV/qD8xJEvH4k6WuDBX9A5dHAksPyLH9kKW8wTGZiWG14P+47YVPZhyQ15B84hWDzEG9Z4kAKuvDgg4N0Riazb+C7Ch4xIkxfpun7Tg8zGaEJQ3h2c7Q7q9Qb403IxtnSyNhem8voEBWDv9csHv6E0ihh4uG/tJ3OZjbZhSRdDzgbIkrWfSHTx0ZOJiS6Cn6UAL6yrIAfaKJ+8vISKPZXyNU/wyYVJ7evMu3dRBX9FzDvmRxrpGAgwobxK+VdfJ21w+9uaZJuOCJsYhQgkK7Rh2uPkqBcM4ke7IOTFx2mIutEL43bOPBrX4uHMOnUcqLkF1KhOZm0Nm8RjoJOlLgumAa8fp6/gJ5D2LEgN3MwMBI8KOEjNJX/fQ0r7uX9NHW57gSMCCRN0AJcFYYTkHgC4FDLnTJOo1s62NArbohBoym1cmvkzDi0f0d1PBpoIpMy4IA9vPxpjnxR1u/xM2C+P051g0+Wt3eFpJdRSxC+jh8Z8NIG6xYsCVlKP26rlVmMwl3KF0yLCk62ldegZ2mrNr98WXG9GdtEkjtuSawWTddW5P4W6bLhtRQq5gH3eINBrpKfeI8wWLk/yoJblrxRVdf3ve15yKAY4a97RngDL7imZLKm8+ow6hg7/EkFfRGzC0j/GUqD0WL1y29Bcl75/nAGdRUzXnlDdfVA6oe7g9aTqUmVm9341BHUdUAji7APWsZj5lCPGHJg5vWhrnhCP1nco3aN6fxH7UgGiff9C/vlsxY15OTOdvaBQuBCtnaktB//+58uYz9js18Z0XnOOsxyn69vToCK/eChRkf2mZoXw5aFcx6Pb8FVS86alq8TF+suANifZDZeOk/WYBbvVRL8vC4ilmLQn0/Dg67g/TDXrQPpO2b9mQhQAJmQL5Rv0TFRF6Gr6wze98VYqvybKFP0wDXofmmvWfSfaNphPdB5goeVjAAj66pukAjTp76b6uWxJ7qtlIRXvN0HwofM9lo/jfTulzeYglWgv1VqzWVlKhuHP8uVxizppVc7NoH8OenyN5rF/93+1ckwLgi8YhoJP7BToReBHTfOXUUTRiKi3JceUEZIpQndvnCy9QvkJuMCjUBwqafC1xQvNqYDV+qxbfp+pRhHvryO2GwR82wmF0kxkc6cmaRYTg1XMWb7m+xWdgagBXTaGVIimirl0MNRyUAUF0fSFlAXCM+g4c6mKSCc8OHw4jREFuoVmRhlPdZ49daQbMk7NOkXm0KYQeC8YFJItSO51TyxHccLn/y/3SYAaKSP5uf3tmCCUWZRybYRgbap6nEgk6b5/B87LU3tt2sHXiDgORyFU+WhEO2Iv5s7ifMUjek6zCagDMUlt3M8zBfdbdmb0im2QJkGVng7uWDeUtQgTYEhym5FpsfPpaSjlGQOXmGXVHaBH1Yqwu1PSnyGM43/aDZmtEOECLKWVtCPBhjddCCSgef4iS6gs+RWILe5aNfYNpy+mnUvpCwUJGg6bF8p4mHzJAvgxjuDn2fhRMpjQal3sWW+qjExEFfPBHCPffbEi9JmCtFxf/kAR61J6TfeI5SNPZUsHz/BsAsR/7F9LLz6GLTr4PnpJH45HIxF8/bRJKXKiDcJpv4uZjcdOTG3zpFThwuXNdBjUrCxSE52HK9kZrXbkQG3K+Fr4v/w07on0i2MJzZnKUo2qB9JjBnwLCNKgLZsMzk8R+tapnAoEUQs2CCPi+w4iVqn558Rh1z6Fw/e717gQ6NTNvIi/NU48PvbPDui+1Q0qXLfqlS5KqCr+geOO1KksX3opYEx0sn6EuOzgfHgNEN8fHFBxvUulegZOwHLqYEvuaROwd8Bqz9MOc7aN9fwoBreP3u/yG8c9jpuNTUINeyZzrtBVkP1TCQx/n13wumt6sUE6EYQeJczbcW4sCfer7y3wfJYqm0ajRDJHxmvcY97jAzoyltXFWW5Z8crKf11PMtoG0FRlSaXtMHJFHl+Rf/L5Nl5FzPSlvHbwWXZmvsQBO/4vTHzPxBVHY0hclDihoGrh/Nps8htifsuWF6kCf2iSgX8BOvoFpv/pHaTSjVl56b5J1t2guxw4/I+Gu499LWwgTMBtIZt5VG/E2y3gpodkY4oJ+gpR7AAQkJa5mW9cA62wlqfCvfzV23z7ShisaUyuzZbnwYouoZdgyFn6FL67SjszFwesz5lnY8QFvLNCCIJFUMHlxBp5JQwwTa6Kj99VGAvkBJ7p8LVvREV9y9ZgQPu9m2iNRHWjyhjZhX3GXM/iIGi6kWtyq9BU6DH4Lr/jRgQnqvMCE7rLjBT0nuyDq2MmgkNG6knQEuTO3XoORg4qvywXB1fmnKjM6w8EmHr3Sz7q1hDhhDD6fx0OyEOYIdGq1v/Wz3qa18bCQjqmoOEPbdxzQH7vLNcpwpnuVGC2D6/1BMjwTJvrNJOJL+g6FBgagNUcPuiXuwIUDWYF5b+EdqTb5eNkMyGU55cCcos8yqECVJJmW3gF7uBzCjtCJx3yBzbE+eHo838CxAuO1GCjF7JdH59q06hxjiDCGiXqKgxuG4EHMlWiwfhvTIY1pTg064lvkMiQyBLrOm2m3TwX0K4Knvy2XWQu+FKa3SQcdU2ahUXYTZmXW+WFep+YHRhaoMyuVPb5sOZx2HVVDU6mYdZFlFgFzykufEoUCH2E53D1SzA9ZMVv32do+U1rM2YXaYSp1xneP7PXErJN+8PNRR5hSVUnM9eEJruxnfSBgyDzCnA4snu3XurJW9Cbmo7NSy4ROrUYyl3fdkecRitIBe4JPaQmNlgS3dqm1mWgulKAbw7LbkRh8FkfG14tGp2IEFSDRh4PmNwz+MawERX05l2NbLR63LuWn4l/MNagERpG6hrrjezxmmxnIPpjhc5iTzDvaKE606mibwKUmR1yyxUpK8OWRyns5x58j6dRBoT8gaDUOHxJFUnOEC0ZyAwDnsjRrZvoyLBxniHrZOdSp90W228ZM1NwwXWw/ez4YiipFxP2YCQa3dQcccT5UXI74idhwemqgzxIRlIS6cVfq1kXSrxO4AtDyoMT9ZS6y6SuzdaqqsJ6OyZOqkHxUCAPCJKZTlnI3ob/AT1ZBviKvwDok8FRecah3ZpokDKufMFsuNpbgdAqmqnjhs3vHSdSdXTzggbKDaPZ1V26K50un8I7nQZrzUR0gTn8NQxc9OV6fgZIWbZ2qFNCLbC2oPDWxJsnvLWT1oTs9lCzZ8nWV3cUWetywbGgNPrvrFxUvdeT27i2C5XNo8Rn1Tih0qzXVb51RQI+DuTrQHZ5RO4fTn7Iphlr2oAtB+MTvWHsTuRQRneSBc0WwAoX3EdiOOGFr1HMnqXjOXr/U2SE12h0TLa4WhRprGOoblPlaGKOO196vFmFPuF3bXiQte+xB+0W22nXz9iEJ1kxUWAcrMvzgci1eQK0XUDGHW0ZkwLjNwvlc6Tels9ZJ9bN1bSMqmhtGvm30WoZN7FbvI/uJxMZzSEbjkGn7HTJ+6UfH4D63I7QWJnM9ahQfHist126MKsOZ3ntPgXpZ8GskxayZlwNQjELSXVd//AzIUOIXR4vt+bje/x6Gk3fUVEj8UwH2m57lzxbcEYAxXh4oOvpQlp7ChHQ5wfg0IJeByWVin04AamNkLg1lQRxxvgvzYVxoMuIB5asYwP2Io4dUA9rBliZuAkUElL+Wu3bmI31IXZHkludOP5M7Bkw5k2zniEJqBCsYJLVEJZ7yOpP5BZ5H7y/6mKUAoPd1ZlsxBihhiOzECzTeCzgCMp/3rdK0l22T1u8xcQCCgNhSRtA4yBiiz3SK4xFLQubVEfTa5GBtjiq3i8FaLhlfI9m9nblhLxK093ED6aoRyK5lUfrR/Q1YrLt+j5ThEb6FBcZbK1T/vk6RtgnM6bwTXYJPPSOKkuMIKADizp+IUqRlb7+31SrWkDzmS7Pdl/naXGYG5IfmaXf/APoNQCOzUGmEL1D9VemlNlVUipddaV8D8b+wSfEmWSB1FAyc4DLfFWGmaLk/rZ1fhHl4H/u1bwPjat7UeM0uKQb0GO+h7dMaAph7mDc7PQpgjN8acqSrbMds8pEmBoDAAKwChoV6m5Gvl4UPqAfUasIAknPsOKy0j/tdAlPVhNkn6AiwB++/CIynRmF5A6w1sOjgBfg9xTzrrE5P4QSFP2HZ9AF4CeGR0JTy2X1wChgR05n+2tzCsdcL9wh8lSdpsdwg1XoF5VT5mOXx+WW+8fhkgGo4lCSljCKZat08uQHGYfaHqbnRy8suQPdMqRSkZdZCoEm93QoNB2eFz4HdGDdZu/MPdKe1vmTBouzeNaxERUgxOUtnrVGA31B3hJLiMw5Hg8cm2u5uoCru+mg7u3u3ncXzdTG+o+30aJYAKWy1+7HbynIP1Lh177SKIMwcTdNlro9Mx0H8kaHlozD2G6KRCPIwQduskWXOou7ZZ6VWNYU5gwXOWknCIh2q+5X992qDSs8rCP6aVJslqkVYrGWARa8nFGNrurkxC0TD2DMp67t4mrJcLbZb8semqj07/MZ+aAHTdlR27RxIn3w2FYkDcppG5GfEPwoLGzZkRr83BKIb8Jk7U66gjakVeLFntnizsEjW+can1aVUHylXQv5Z56DCjnbBOfq84g76Prb6dNxYQxVd6bSCGtvv8H0T1SpvOqTAHCS9jzo5DqAp3A8gm5oR5n0bFzwbUr7/H19U8zeInh9CLI9WT0j6aaOi4JN0NNZROOh+JuqTPdWxJXPiDlT8wsekTj0Wn22/jmECSKhRONyZeKKrHBMQhSsYFzwBpq4LYlD7j2AMuMHu+HbvRz/X8c6gNv6YePF9uZcuC6iUTqqUMIDv+E92zlN30SEWx1U0CAcAGXQeExKA1t5A4v2ij1h66x6vcrF2kViaYr1Q7BUOHDSTi7YHa9kzyrUB4pP6LCC2ONuhMWuB5P9GLrIGzgqPqfvDkRY3kqeL+zMKggSq3/c5/c2ByVzTcRQ1Hf7rsutR7MiQEl6PGP8Npl4n2k4VXaQ/Iuq+PiNL4Z7gANQzN4j9xgu1yHSerOXKeaqSdYZgm2e+4y00dQ73ZHbb7DBCkjFqCc7D8TmbS80FWQhlYbOIZEp7KiuZudb08kgoD68aG3ZTZJxulL2123lo4Sh2gRMrLo2zZTPgZRtCzBJY0CSRb7kxkGmm4eYT5MAH/elSESrvd8X+lVTzuuYfSL+d6tCGVKyNBqDKD7/bmoxgC0Fi1dvOCc4ZPxUicVXswfCyN5iCIauuQsFGLd/u6GE+xE+wT9sRzgvJHmkB/xmHvV6zuz+8WxKeuJ4ZWjZPp2vSXq2LTODc1yU5Xo9g2zAjfLft6B0/GT0j3LdjUhTudumxT/QLRf4I2HNQ53ZBvokyNoq7Wm2Gx4Cm7oxLFeL0BG8gErrAaznQcrh7qB6XlIfSPmkxBWhHGO8fDTFWYp/AAAPfaoWWoXM+RBx52dnwQPozp/C5IQd4NZzQ8BDc32iCB68yIzaZ3vNKVXYEjdWc+Xj08VMUy6oHBVMk57oAwQDg1HM+hgdpSyo4Nq/cmspDi9hJsecFohcL5jkvQauD2CMkhGMdyzUXYqQmWUIDplSQb9ywhvKeNTxtapxCdK48I4+bYlaiD8Vy3qtTQUSEBDe/O9IQyCwujRlXmheSY1eSSfir2Ddcxu/iT96M6rdye87IKWqGmiAfSXvmhYcUJvJ1WmTqYjx/DC9O+EaovVfpUemx2cqYJNfy0oJlI6kZ6szaw9YOSLR/RT5N2f7vfrEnbXeZDFCbkoppucFAYKSON1XcrtQv1etGowcZ0o+PDRo3RNgP+est9SbQCzq8Lx+mVCGfNxjMEXMC1JWu6UP32J9yyMqPH8WcmNgjUwH6JuJs7i/M3CNsJ6rBbWT4TbAcKxFPKEL++u+ep0U8dZ4Y2HCw+JD4l7GS6k4PEkUvZa9+bhd1wm36wRke3YE4kaGVMOSeDkX4fGYprkkRPIOf4c0+f9w7yJGz3VHQRSZCJArP40rcxy4LxdUCP1vwQRkPuXUEQYz2deppg+N7ZcfHNPrbeXP+JXPP4nb2lfepEp6611bj8OfJQ3Q7FKLT7SP5HX5L02mdYvwUzkfZdJSVEPhSJRRmDK5xqWg7xDBot2OHc8W8XRhvTeD06C0xTumvqCOwhFIbIUGwcfIzaMS/lurLDjdbdi5iklCdZb534InLPPxPcfNPd1mzeFLCeAK4/YFFbPIVpFBOVj0GsQNJPpw6KuAFIfN+GSq64+HIVq1a5+dmrDZ+D4py4cQ3MmXwun/bWZXPzsPkR8BbI9wkKOr3pXqvQFszqX+4MVJOwPSa0nZo97JB5GNaEjfco2dAfmtsPiGNRaR2Iuy5HWapyKM+B5IKG6vgV0SLoCW1ZIUV3Tfc9TdlXM7xJNss14vVx5ZF3Ay/qNGLFU5wkWR/DKl6Mpeo31jrqzaluIugJUsxHaA36fb4zDcAiqvs7lt0D/X9aD4QxfFYzy25qPVcPdgrLMvBhSlGevW1BlG8jjbzXIVN6rZoFg1Igt1I0DBajpuCPpJ7cmxH/lHYCiwf2/GrehrV6j96lrEi78PP7myhx3a8dNnksN8frrdlnYooQan1yZAp9IRPwqrWSD5YEg9ao4YRTh4pWlZxdSdlkDmBzwbe9iEQq9OKZC/By3kLgLrzRH2mGRaqU4e5FA5rq2nPo3OdaQFRBi2Ddlw9lkQvuhdyNc+GEiYYDI8FNS9PuTaTLWQ3FQG2BDrH7GtYSDMvHL8aFFQrqlGSHWWWr9xaxy0qpg+vBWLGs1UCyKd83CF2tDVlB3jvIE+2pnZwJdO74ufVl2qM0PF4q69itv8UVIvMdrAAnNaC5/WVL6lB+2y88LlQrHYGNNrl46TTRviT6QDtl/c3ZbvrQj3XdhqgdKDm9XDlhTwli0z2xoCNp4lxnsYlhxin2MpIIwKIuVMyVCs6qD7PvkfY6pMBM0bWeGZQDltSrtChQwwrvACHRDLrA1l6KClzZAG0wvG/aW4VS8l/ATRjUL0UueKxpjHjy6TT7beG7k5hTjyMjiLL41eWeiWIq3yQ2VxsfiDdykuCAORBesZMwHiVNwoVFeJD7aQKJg2tas37G0ltVK4Yy2XAEMX4UuRZ4Xe9UmKAGRIc88nvk+sn32t287wgDVE+vuv/RwzBm+uOXZv/rkZAxFJ9GM/cfiJLAzGCkrRuSNpcxmo5mBqQDAvMRcGWp7QdLb8qt2H6F3UgSRlBMBHWfSJdz6uDH/k992bRmLPhYjETIvmtXBnptWu/DBRx5y75niBGjwQkXUraQPsKzRi573v3T+VDXecMFsBtZDBuELKnq/Q4OXMWFsUOFCkC1P8jWUS/yCBx3ppLaPPH+ba7XD6/DYEzNpoKZHaSrl8DJ44lP02BBZhub88dI9Hc5k9hxJCCI5PxwBwUX6Y3g3i7kxPlSKsbjVYG19ZLDKcjhvjg==">
            <a:extLst>
              <a:ext uri="{FF2B5EF4-FFF2-40B4-BE49-F238E27FC236}">
                <a16:creationId xmlns:a16="http://schemas.microsoft.com/office/drawing/2014/main" id="{00274750-460F-4179-94AF-B0BFBD5B11A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5442740" y="2362268"/>
            <a:ext cx="6392424" cy="4044691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btfpNotesBox304406">
            <a:extLst>
              <a:ext uri="{FF2B5EF4-FFF2-40B4-BE49-F238E27FC236}">
                <a16:creationId xmlns:a16="http://schemas.microsoft.com/office/drawing/2014/main" id="{00BA33E7-4BBA-D49B-124A-416815A58E7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There are no reviews for </a:t>
            </a:r>
            <a:r>
              <a:rPr lang="en-US" sz="800" err="1">
                <a:solidFill>
                  <a:srgbClr val="000000"/>
                </a:solidFill>
              </a:rPr>
              <a:t>Sciens</a:t>
            </a:r>
            <a:r>
              <a:rPr lang="en-US" sz="800">
                <a:solidFill>
                  <a:srgbClr val="000000"/>
                </a:solidFill>
              </a:rPr>
              <a:t> Building Solutions</a:t>
            </a:r>
            <a:br>
              <a:rPr lang="en-US" sz="800">
                <a:solidFill>
                  <a:srgbClr val="000000"/>
                </a:solidFill>
              </a:rPr>
            </a:br>
            <a:r>
              <a:rPr lang="en-US" sz="800">
                <a:solidFill>
                  <a:srgbClr val="000000"/>
                </a:solidFill>
              </a:rPr>
              <a:t>Source: Google Reviews; OpenAI GPT analysis</a:t>
            </a:r>
          </a:p>
        </p:txBody>
      </p:sp>
      <p:grpSp>
        <p:nvGrpSpPr>
          <p:cNvPr id="42" name="btfpColumnIndicatorGroup2">
            <a:extLst>
              <a:ext uri="{FF2B5EF4-FFF2-40B4-BE49-F238E27FC236}">
                <a16:creationId xmlns:a16="http://schemas.microsoft.com/office/drawing/2014/main" id="{56F9B90A-DF6C-478C-AE8A-111A6B2E3D3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938214">
              <a:extLst>
                <a:ext uri="{FF2B5EF4-FFF2-40B4-BE49-F238E27FC236}">
                  <a16:creationId xmlns:a16="http://schemas.microsoft.com/office/drawing/2014/main" id="{6009F4A3-89E5-41D3-A501-90599CCE141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76656">
              <a:extLst>
                <a:ext uri="{FF2B5EF4-FFF2-40B4-BE49-F238E27FC236}">
                  <a16:creationId xmlns:a16="http://schemas.microsoft.com/office/drawing/2014/main" id="{FBC57C8C-9926-43D0-9258-F56E840654F5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894454">
              <a:extLst>
                <a:ext uri="{FF2B5EF4-FFF2-40B4-BE49-F238E27FC236}">
                  <a16:creationId xmlns:a16="http://schemas.microsoft.com/office/drawing/2014/main" id="{E5A9DF89-D51C-4A6B-8915-CDED190674C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478818">
              <a:extLst>
                <a:ext uri="{FF2B5EF4-FFF2-40B4-BE49-F238E27FC236}">
                  <a16:creationId xmlns:a16="http://schemas.microsoft.com/office/drawing/2014/main" id="{47A48B91-3E7F-4438-A8D5-2A9105C4FD89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717055">
              <a:extLst>
                <a:ext uri="{FF2B5EF4-FFF2-40B4-BE49-F238E27FC236}">
                  <a16:creationId xmlns:a16="http://schemas.microsoft.com/office/drawing/2014/main" id="{0A85CE3A-C54A-47FE-AD97-70C2D2E35E4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550059">
              <a:extLst>
                <a:ext uri="{FF2B5EF4-FFF2-40B4-BE49-F238E27FC236}">
                  <a16:creationId xmlns:a16="http://schemas.microsoft.com/office/drawing/2014/main" id="{4F2A0287-1EEB-4D15-A9EB-D1D4494BA0D2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390625">
              <a:extLst>
                <a:ext uri="{FF2B5EF4-FFF2-40B4-BE49-F238E27FC236}">
                  <a16:creationId xmlns:a16="http://schemas.microsoft.com/office/drawing/2014/main" id="{2F6C9362-E626-4137-BBDB-F06AEB942D6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btfpColumnIndicatorGroup1">
            <a:extLst>
              <a:ext uri="{FF2B5EF4-FFF2-40B4-BE49-F238E27FC236}">
                <a16:creationId xmlns:a16="http://schemas.microsoft.com/office/drawing/2014/main" id="{1CFF624F-1C02-4D48-BFBB-B2461E5DF9F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686788">
              <a:extLst>
                <a:ext uri="{FF2B5EF4-FFF2-40B4-BE49-F238E27FC236}">
                  <a16:creationId xmlns:a16="http://schemas.microsoft.com/office/drawing/2014/main" id="{9E9C962F-0893-4B90-ACC5-F999C4852AA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7" name="btfpColumnGapBlocker561003">
              <a:extLst>
                <a:ext uri="{FF2B5EF4-FFF2-40B4-BE49-F238E27FC236}">
                  <a16:creationId xmlns:a16="http://schemas.microsoft.com/office/drawing/2014/main" id="{90366208-3140-4E61-A7A1-4FE3AE6A157F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577557">
              <a:extLst>
                <a:ext uri="{FF2B5EF4-FFF2-40B4-BE49-F238E27FC236}">
                  <a16:creationId xmlns:a16="http://schemas.microsoft.com/office/drawing/2014/main" id="{C915305F-514C-4490-90AB-42696F6E840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396055">
              <a:extLst>
                <a:ext uri="{FF2B5EF4-FFF2-40B4-BE49-F238E27FC236}">
                  <a16:creationId xmlns:a16="http://schemas.microsoft.com/office/drawing/2014/main" id="{0872EA5A-8A82-49CD-896E-C64BBA820B9E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569566">
              <a:extLst>
                <a:ext uri="{FF2B5EF4-FFF2-40B4-BE49-F238E27FC236}">
                  <a16:creationId xmlns:a16="http://schemas.microsoft.com/office/drawing/2014/main" id="{50788AB6-47A6-4098-950B-80A6E8DA970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435129">
              <a:extLst>
                <a:ext uri="{FF2B5EF4-FFF2-40B4-BE49-F238E27FC236}">
                  <a16:creationId xmlns:a16="http://schemas.microsoft.com/office/drawing/2014/main" id="{A9DFAECA-E354-4AA8-B955-7908AD836007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56796">
              <a:extLst>
                <a:ext uri="{FF2B5EF4-FFF2-40B4-BE49-F238E27FC236}">
                  <a16:creationId xmlns:a16="http://schemas.microsoft.com/office/drawing/2014/main" id="{F991494C-8BE6-424F-9621-C2AC22D6E9B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E6FFA5D-E1A1-4DE0-8213-E60943844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16676" cy="876687"/>
          </a:xfrm>
        </p:spPr>
        <p:txBody>
          <a:bodyPr vert="horz"/>
          <a:lstStyle/>
          <a:p>
            <a:r>
              <a:rPr lang="en-US" b="1"/>
              <a:t>Sentiment drivers: </a:t>
            </a:r>
            <a:r>
              <a:rPr lang="en-US"/>
              <a:t>Sphere rated net positive on the top-4 / key criteria; Guardian leads on advocacy on most of the themes</a:t>
            </a:r>
          </a:p>
        </p:txBody>
      </p:sp>
      <p:grpSp>
        <p:nvGrpSpPr>
          <p:cNvPr id="50" name="btfpColumnHeaderBox981258">
            <a:extLst>
              <a:ext uri="{FF2B5EF4-FFF2-40B4-BE49-F238E27FC236}">
                <a16:creationId xmlns:a16="http://schemas.microsoft.com/office/drawing/2014/main" id="{324B7622-004F-4047-B097-C0C8C7B11E1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6989" y="1273367"/>
            <a:ext cx="4880735" cy="442108"/>
            <a:chOff x="330200" y="723691"/>
            <a:chExt cx="3483504" cy="442108"/>
          </a:xfrm>
        </p:grpSpPr>
        <p:sp>
          <p:nvSpPr>
            <p:cNvPr id="51" name="btfpColumnHeaderBoxText981258">
              <a:extLst>
                <a:ext uri="{FF2B5EF4-FFF2-40B4-BE49-F238E27FC236}">
                  <a16:creationId xmlns:a16="http://schemas.microsoft.com/office/drawing/2014/main" id="{0D56E1B0-BDE1-4BBB-8FBD-C7A142A32276}"/>
                </a:ext>
              </a:extLst>
            </p:cNvPr>
            <p:cNvSpPr txBox="1"/>
            <p:nvPr/>
          </p:nvSpPr>
          <p:spPr bwMode="gray">
            <a:xfrm>
              <a:off x="330200" y="723691"/>
              <a:ext cx="3483504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‘Staff Professionalism / friendliness,’ ‘customer service,’ ‘timeliness,’ &amp; ‘quality of product / service’ are table stake drivers</a:t>
              </a:r>
            </a:p>
          </p:txBody>
        </p:sp>
        <p:cxnSp>
          <p:nvCxnSpPr>
            <p:cNvPr id="52" name="btfpColumnHeaderBoxLine981258">
              <a:extLst>
                <a:ext uri="{FF2B5EF4-FFF2-40B4-BE49-F238E27FC236}">
                  <a16:creationId xmlns:a16="http://schemas.microsoft.com/office/drawing/2014/main" id="{7B7F892E-A190-4F1F-8711-D84DA997A1C8}"/>
                </a:ext>
              </a:extLst>
            </p:cNvPr>
            <p:cNvCxnSpPr/>
            <p:nvPr/>
          </p:nvCxnSpPr>
          <p:spPr bwMode="gray">
            <a:xfrm>
              <a:off x="330200" y="1165799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btfpMGChart74790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ItN+BdkIU6kSkys1oz4FTbg3IAHFZDQQIUI41CPkYeCkR+S8QFB2kPylUA3JsntOnMnXuTmmpeohPhgnOvWjiDdh2M7oELFB4IhxJhTerNRjCFpuFQEejr1r5CmgUA1fqrpblifu4Ur07e9issnjaD2qHdvNUvB0ydd0A6T/k2Hg/O3P9r73iQw3MrP20XbaYOAUSYg/0Kgu3HyQh6hA1SNCrOZHoM0gc98Zjv6LOFuK9UV8oDGI/SklUZphJSSGHPOq2Bsu8/Yfebar38g0XnrPtBfcWzlEdW//84r+QYUYKcEKigUMLIpiiFKOhcr/704qKjPeknEu0HGXLw1xjVICGLUKBUqw0R1EJROvvmXXsxdDkoTWpm/4Wf/0vmi9B5YtZM4/h1+68QTDIDQ9FVjuA+Xm9u0XeC32upTOzqKmi0yQNcPY+TCdQc45BNPWJ5UIE6r7VYLNOKx8jK4ilUfP0D4e2Di7r7ThWgl0O3kyz8ytnrc+N400of1bRZIUCnWOvMFiPyeTJj2/MLGl24IQ5LCJq/fVQY3GU2JGrbxlRB5sTcEdi1BpZyXQWOpRJDz4zx6g6hF2pjLYDw+54pzM4DeAsAplsJisYWQ8wToZCG/kN2xmdDtIvdaRc5IXxyuQx0EUD2DVOuOKUmFuZAGRc76y1YzjnN6JVlf2Zs56ptwtIF3qmNnD9QEfpWynSh8g3udMbFGSvaQz9XqtO47b3Sad4HlUNBnrTpWu/etnGq/nNlVoo1rjqgiHud/VcdQAuTUqEFIebQE3A2UBi4C6T5BmMJ/aQ+N+id8GCpVBOjh5yf/NfR0IMx0KtcptPJr2oaIFyZ3NssuiPcbemZF1+C1JZyMNWC5PCqs7RpYVa/BQjUPNpBDY5oFR4UHAwuboOl60DB5+otQGNLwnpPk/hNgVsUX4s1RGfm28uDErN+k7iOWwEd2l+kQ74OpdxW9FvzgAiy2IoPTtRWFogNNVu9ko6yNfT6tJP2akZGoFSeKXtsv7Cb5LeB/dBSnrcWteFtXmVBaoTS2Xwg4bLNxh3plemYzg27CzEpV/7UjAQZ94PgfmuNnNyKab6GKWG64CHkfLdRgXgpibKIIkOx9aRS/3atL1cd4jZV/wdArtyYKO7HtcQwIhvyAA1r4u5iszhl+UUzYmR3D7yDyhsu+EIxs08TeO6Ra2BhyQtHLGJx7zheIeH8AOGoJlPKNgnc0YomkQW+pLxnEweFqYNzgPcUP1ufGeK1L6WZA3enYUXZ6eDMjCrBem5i0fumPnrW9O79jwNmKcbwadlIb9gAiZeCVIWIxpPJvaqlejP+QhfFppclqh6i2buenPYYO9eLu5/56PrGB87gIRz1LUu5n5s1yeZ/Spm8ECrp6ol68i3eiYHJJ07TItSKGFJgHkbnSU3rxhwz3dvu0hN0AKPnnT86sVa/l99XmWnQIBqPBmJXW86J3jHi2N92LwvFtQ+81zKJzI1mWYNEW/zZZHM8CSiIKlVQDIgtw2RSLszAVljvpjcFRCHc0O11AxqJX6MsFfKYf+aNox3hukRw38o3U8cUlRESRFx6gl1pOsdu+SlORQIzzaV9q1O7l3IDBKudWrm0ONytzVexSm0fQe7NSVBzZiAF10BA283JP/JklGBnqjFWsRmmaotCs6XGIoSlfMTV3GgCOenOWcEaoqmD2rE4WKKJ0MLukRk28WdpguBvjL53velAfnHJzbL16F9R2niU6G4A2muYGKK6cmwasij0+m333GfRZoxx/LxoK0CvKBq3vLCOADDP55NmUDGzkc7frdhUqQwIhyln4oFo5yBCktC2SS4wseEs6ZZ07FjKxHU8oT6b2RY8DJ0RH9md2bK+f40oUMYtfKrApWhvfeBcMEEc7Rt+zIYKd4aR2QhORo0knx6K6EZ0K6Sy0XbrGl5WRZQmyAMa65wLZHfdzmhEwAfByq1+jZNerbYMhrEQwq2X8P2fSlolZhnLkPuvTBA4rfc/AAUVbm5CTBi1o5NsMyFbN4TPhAeJC8WW1ZcKF2H1nn1TLHSxjMqMI6BbDF/tnViiImUlwaQQa7TMNklkMyQkd7hJ6pRKXXrRTCt0537k11hw/BcHA58/Ti1wKT3nqTElpYZfyYAydfQJXOG3c1d6cx2CPILu9mFC0k7bHWVyXfJUHrG+U2jN0mQW2UImMPW+GnuHAJshpoD767AKLVp/VImSOUp8VZefmAzZVRKYGLSaa8ycR6y+p4pL6BZBtQuiRzMjV0epRFxBlwAemIOxX78TXH3iaQ2T6Nzss2Z69TR2WeX8PbdQQUxF8jRWwG8WnaCaD+fGT60Vt5NuhXoUV6/0psNTkWq5poU6dJXgX2CrlbDz0bJnvgFWFC4JrAuAu77If6ACSR4NisfcyXHKxpp4cKo512aza9/h/IZGtq/YgZ6dhEwV8i7RnhuwesyIF62aYrZO+jm8xiKtPuEo010H9hok89C4ixbc+cxqPgvbCSmAx0eXn4A6ENWr9PuEPBBtkKXYGx54gOvarHKbbIUt5eiFzgjoWERiaBCd7WvyA/gP+DH3eJeIBtih+x0wnANleU/Ux1jZ6en+O51Iq1hgyVTNzWCxixjw0AaRzW0Q+S+ibOY7bz4CMgrfMVff6VeePwYmh4WGu6RBZMfkSiCsLLeEU93m/Ribj6nGtFMfJOnWUpg81KUEN2X3Ey9Npf1x0tkJEC3Qs/cffjbmEggubgHYf65JTM9Hjrg5NVlBfJDdu2IwaTv24PQimi8ovj/zsIszoy8QZAjtfGq8sTSz8+ALdFXxnrF0XeQyF/cqK71OoKaDnDzqUIQI7iEhDcOdsW1la5gOh24CX6v9hK0YSUtqomYXk2dUJTR6O40GH+yb7/1zg4hXE4y5C4rpeqLc6q60dfim+qgws4MqvKeM1nGHPtUAv4MKxSkxp0tWVK/taEI8aEinjPWJ21RO9BOa+WjKW4V/g86RQeVv3OWztUeqiVdMMSTkghIuawfyPy/GzC0k3gzEi1TyZRhkjk+PUa+D6yEvcPgEmEC9aIKytQnUnwvEdGhuCg9ElWPxlpvs3oCXuTOnRqr4zD/4dkTRBCMmapvSc7DakPoi34d6otMU9YNINLZ7E1L7vt0WYcK0I7MrCV7gt3/L52VAcLhT+1ThbPAfmAIE9QSXg1cjWSOebyUfQCSFP+YopLyLbgxM2Nv1rVseYZ2cS95uQ678WW7r5+W1mVsSWsy3cP58ATwgsUFBOEdwckhUokbER7p8TLhG4cR7zv4i8FZFG4nQiFfhip4PN+hPhM2iNbhfHykuBs+LKs+Z0uO2xrRsFy6oLZL1HEe37v+W0rmjSbJRNYTKOHccwETrf/8pxrONBQgtcIwtw00Tlv4jycLfOwBMEQgda4X9EOp9WgVYJR5PtD/xvi3mwpckw4/pLNwVP0x16BSSufaoXG9K8xF/jqjJhZPss9xSP8MenjCuRHhm3LTVBgLWsRNld9FumWc1TMasIv6kh2yACsDIpQ2M579Ys++nmvIeAk4OU1Uw5rALY2felWSXMuUr2SYwaY1oC++LalIiF1YdWOol3BrOv/XTNza+oS5Ca9PD1EvfcjS3zxtyqf42gWbZXnnX5V7vjoAFCvfBqGZMYf2drQVi9pYFmZcqCJ2Yi5HkFpahpHexjWRmaqbTFmcbyVgYyPOWbF9ilmNqZSlM5zFahdehO8xpuORuyLXTsLR2JjVNfEuXlNWkXBC7oRDkihEphgzGNkJjaXs4K+jI2s/ZFfywVCQlXKAPkB9xAmFtH0kYtTNPpsi/OzS7mzYReQ5+3gM4veW/hDGs2yexuv1m1qMBetXEfhhQYUqx71d05bvhixDVHWZIuOQTqd7n4bFO4yfU+/PoGkqYM/u/NQvNlALMLytmEiSyb3zKR0FKWJbUVslVCuTjDxR6tX+QS0lyo8E80ZiYiq4JRv3FyEf9fKmgi5+oyO0nSaxrwv0KiJTp4T4NeBKfu7HVkMNWWAOwfk4QBelUqU21RHxLoIytX0m0/tbzzb0KxErF+NwK48CP+verLLzKM/UkNntR8a17xN12UQoSm99W4M0Ft5LbjOl5TG6gpQ5qe0IiIxooCCxZmuj/U+RlfYXX+T3DlIqWxNp9aocKy4uTLj5TBt/6E+qBNu36vyBPB1U9Y21fxElR/P7oE6ASNqa0GdYcRuJJ/2NpmmfOXgYcHg7oBfOuwxtHTiYdQzHddt2XoHwM5iVX3pGOfTVvOCRTh0KKwX69tAMrM9PWM6R1bQiRNFgMj/N19apa1mwmYX9wq7fZHcrozSsXzNMY5zk+6wO8mTzCXKvFcpk75i2rFquKm92cP5TVyn8umMlUqucf+FMgROWvPRDB6DIMjJjgSAGfjRfCEXw01SHVCETpSGH5isxJq6944jzChMY3WssMjfw3YX6pOdJy5eBD89SfI7g05DhOnEXrREXTxqI12wCninJpexBFRbQcP3pk+27ieH9rgplJ78BYaiLhurz5CQS8QXsvV3/NZ7TMfN5ZxextR7SS8a77d2Qe33QKSw14VUgf13cW2VyH0RVySxVqsztcobF74Wh6qb2CJwlN9tGPB1QrOrpH3zWS/hHp1Lh2UqcgYAdmq9E42ZFLZ2L1+IMUJVvLF8IN8Bcgi1CeuzRMTrxmpOKN7iUEsuVkonN4ilQjzySugjLKyhJnKKs9/k2KF9twAVkjVDXeTwXUFXjNgKkvu6ao+2B/ZzRNamxWTkKupGKBpMlXicoCxSEOi8/IOyq+cO+lYXeNBLfmqCAy7ZW7VVfmwhIvTt1+9iCsn+qapAvha9lfBNihCJT4qGM+oV5gOAH2cJemk7FrVY/xA1OV/pG2jnhpSl6QGVb26PpSzF1B83zOpBBvLOaAmstkhRv5W8VrEvvmO6RDSqI7hcYOOlpNoYCbOI35FAkdFZ9uufSkskRDmBuGjvL+pzs19xgitfvIKVnarojhBJHcHiT+TgXGz55UU8gbaCJpPMZo4aDJkOcDGkjHeBvD61yZfeDWrE4J2+gj2apuaivwsYmh4YoBn7zYkSRy7tKAyZ+2H2PErKhomhbZxcA6sKN8WzHRkGiVNxIML258gejSaf3E+jkmY8JiQTj0YlTKj2pHu/8dYV10YfZgER/6PaMUbjiqcdBfSQGIv4L5eQHWe4D4HA9RGRH46WT7vPOvdFr0lnt4AHoLE8C2vbtQOaXG2Mmwz4STk6el6Ic4ZUXoz6BCyjU+mAvjhr7fPk1bQHQPNynWAV7gTs9l8INFGti+s+jvpS3qsm63bQqDwPFbvu4j5KB8cxvuo9anUY2GedCrZsC5XDThnhoEqXBqX8QIwJsNU0dgDyKLSxk1jzZkPUBbshhjxN/11mmouJ7OIJyXXY4aMZMGYQSYgJZ/3eZ4Mj/6PrDoRcfvvTPDIlmIvQFEt4MNmGRo4mHcAF0b7fkVwVtlH7xiPDU0xKHXJUGMlzRIxt+RyqE0xX65LvDjp2Bm8PCOZQ8WtlssNRArwPh7g3t9U0XANVoQ8Q7gvZRHmPYfBpOhsvLdjRuGaydRtjZu/c/SVrQw7kEQ1CATewHuCkpX1fQz1dtwf0pDTnBHS+PHvfkyRaIrhC4KME5tKS4lFHH4IqiQVt4sQFO+p0qJSQKSKwHsLXnblI3c66GBhj6z/iTzgjuIWeJnCJvJIx8abVXLSOAt8a/BALDrCWd3Cq5IMnbBlzeDtyuIqjvOWsrR5CVT3ABpOvMWdltqQmSXeVKA3ANbFHVV4/OnJ4VG0Lg7U+oKtnR7Bng4WnrfM+l6ciSQ784rbEAUt8ywqr5VKV9xUj143zlo/n99U4wBOBQe1rKmSn3KNjp3ud66y2Q5ZQnrA8WLv2YXTuSAPeya9xp1dGoiryZwPndiLDNIrKA2dFO05zbAsO0SWYBgavsLsyG7rdYAHkV365H2DFsYXfx+/t3vfhOv91l4cOfS7NRr8cYwx1SG4VBOKc6Jzrc0sjloUb4DrUPrD2jqJhf9JhBTNJxgDCliXDysEYSiHkQBY84obSsTAP3nQ6qaX/iMXXFX7HeG3eHAtgNUHx4U6AUTNWB2OS9XuhYa9Z8Kx3b2z3ZVGS0JwNYMfdqk3fB1Ry1o9cEPk1mgtwD4sKmRNw1QYM+TrlzbIWH28wWEi5Bpour61NEavBNj+MlPHFiAWJ3q4CnU6+jiWf4kVOSbjnExPhJkQqJ/917a4wjJVavCt3TdMtKT5rTt42HpvvFvqPraoNxEub4d3QU6HE9F2bvayhytS6yu9mhQexbXrnmszoclgSSjpan8D5CLVgmEGy9C40eKiALprK+QI5vC98JgCAAEtPuBVVOfgGRqrgtcntNL/K/RE18GH/aK0o9R5nJb8JO78Dv5mgMmdkbW/55iKojvzlrrnaAqPOhjUM4AgHMOS6rAeP+DKKCg4Ell8CTh027tpJhKAgDITPnSp3HbxotNMU0kDFSo+SjnUTptKQVvmAKbX/8p+ulDNceHmqLRWZiNkvKsDIVFEcWl25mvF9aJCvamHgsVb1CtHIgVVH+OSAkcsiIjcVCfbDMVCZTfZ5Z0q5NoLcoEFgEzjDGqH65GdR5ejRQmjBlsoo3fUhxtBAy+g/gm6ZTX6M0cHDFXGxPmbKUlNqJ5EVFkGqfa13oRkkPvX6ZNjCnRib3rzWVXpOzPleMGMlhKwvZVtQGb4MRT5YNxeInzyY+DqdZDFYRHvBH8wdkhlrTp0u6efM57zP7g8P5pAKhpp58cjyUZG0hhD4i3CeOX/OPByvm5RcbnGZDdhL57i0svpmBIQd2CNWe4j40jeop4ia2l7qzadgXNLiLptrkI+TjvlRVmCiHJlgW303v7MTDtww73K2SbNurpcuk8z0qO7XawTtDxndDRUvLrx1E1s6RFul14giwwB2y4cYmdo1oW5ElLVeHzRYEDlNJYIkvNUYWBxINHvozzTqfqRO8a7Y/7nYBDJzLoQ2LeimshLXyEUgBPC+vEnZRlML60feBeujiUSKLEITCgG0e2IJM1YSKROm8vh1Z2c0Pz2ej62ELF2ZOmgT32j3esXeNU9om2xIiBfL9EBMvsVKbielYIxFJxkATUlJFnolOZGdtBkBMJYuNi4H/0ILsylrZaaxdBlXy2zgbVJpRcb8ldHIuS8a+GHRPBsNLZnfK0EMvPpAO4xQEpGimPtabz8xUJwZBQiYQUmlQSCjQ2nN/joluRaL4J37LGFnNQc4DTz6pdT8djQfoHB9hYhDgCQNcn388a3jp0WBsr3cTXyMCLeXhzUy/DtpBHwl0OwnoKsiUei2kAApgO8pd0bwyV7aXIszJMpwTiOJCWMtPp+ohlp/ncZL7po7va5M+S2SOkTyL+jXfSprT81U9TBeBMbSJ2YArkM3Eec+SAWKBkRU3ubQzCbajW9cAitXGqTt0SHsmP0n+xxhOmn4zzRfNQH+Cqw9ppOqUeazCv0P5c5Z5WoWFOD2RP61TrsEs1imyTMwpPOuXFFAdt2wT6nBYuIock+p4rwJPGnRWdyCWFnDGvsNpuzaZgZf4HJWfzjD9CP9eFA/2/GEzkw1vsVlj6/A6sBB/b+eDWI5izp+3N4QzTWtF47yJjs7wvjQZliFusxUjN4eEpSE2n7zy1e+Mq2lGwtdijTZ4Q+RVZcsb4Jl3ZbLltqptiPk3wpK3DaQAZsQY5QBeFctp45E+/Gv0Z2qbI1BoWdfFzOBJBTvjMQiJVk+bo5OFGM7NRnJc/n+BgrCv1Bj5rxA6lrO2rqPvA0OmsVf0WwbUcIDAT9Y/RwZ+H1bQSH/TrLcP8AeEDM0YNMfT4Z6nKSqH79VioGYrdOe0OGQ9tHwXZ3xLQQ+trI8otzFejORa4Zatb4mrOg8NqK19jQHsIqfkAyufdAhlaQsfHXtCWnSX5ss/ia/SW6DV6uRiLCwRSd6BTMVrpH6FNj31D29lfqFH4VhPsjkZ5z3N3TfjMfGrBN4IZBwAuDsOMbtBqwnpw7ij3LrB1y9GoeQ/WZrUUEcrezNRhpGq0QDTBKafjH55lvDOwoug8ybhQ3PCMPhBJHfkH9EembUqhp/WJxrjrVYpZnR0k7D7JIlygVkFZbvM+2TxTf6/Hdek0tiMvj61mcJtZZPRvU0pPKDx1RCritlKRXPEpF3DuZeNbKcH/RvKgQl+7DF8qOe/laEz8mwRTSpnnJ8TyqhIMGvFB86YUxP/EbkVFFER8fhAKWS06X+gVUq08HcXphxh7jsBmMW2NUl/2g3yjVSNfP20KL955CECikMaBYB/gleTxgXxqeVmsWnfiLEoV9LCgAHIYkCGQlhnkZr1A68dS5vXX/CealTjUh4ouVaQ4y3M8Mtjj+RdzgUKull81AC5tc0gYn01cJmtVQOJ50t+JSRM1Vipv90evZSEizdQbcnTjMlgSaQ4c0svJSCL5ScBV3Rm1Wyk3NYYTMcpNHQG2+nF8oN5eEcDoVVCiTcytTqAaMsK1YkKsGYjukaRqeRmg+g6oaBK6h9no4GRbyKsK4Y+zr+sLtcArctyvJVuYyT8QwGEAlBDJZPH8BRgzVMOFW4I8QOcK6x4hYBSVq5xaPe1/0l9w49PyOqH4XveJEhdrpYyqBKHI4Y+dWCay6LPqeYDYOOc2eonYjgVJ0e/7W1/H8Ju5X+4JkkZKUm/bbACChZ8fNiXxgRx7HLY7BsSCHRbvrQTXR5TfMVctwnKclWK1osRTcxtHWLXDW92O//UwlgTpoYQIe+SGj0RbRq7CJEBur6KzYhKwOK//M7rU5mtnsW1ZzLj46QUQEhJy5bg2FDdAE02dyf5r0pARxr/iA2rxo9JP4MZ3l+fFy+cQmxe+EjugVNP3RO8a3iAoTyuJ/AeJ8VohC05vPAUYqOkqzGf5y+zLg+LT2YoYCR0Lb7iPVTfZG2VROX5dftm9ohadsiXd4blP8hR7xtpujxDNtQAgfGIt7crrHjwT8Ke7wWV7EwBFEP1uvyUg86MUvy1mkmsSVmR8oWZPuT+yfTQ2/l4vJ5NpVjyQ9eD2wHMJ9rmCqMz1ioyOrdvBTZwQttxmeuaSHkAweLWAueKd7gf53TdtCo71IlXNR2PYTEOuw8Ler49gVNMBt3NOIc2N2goekKG/gytGgAQYPqy3umy03LxDi2MRs5c1Fk8PozbuE6Z7Z4jymaBsXouMj0cvAtHVVjbpJOMsQ6DN2ef5DYc8KyexGQmEnYBuWwJbDfggjPo7iXEGlyx089eF3L2VI313SCzzukDZRIgE8utk3L5MdlHD3Ha5Gnk9EjkypQQUUQoJLwesvSesSAesTOJkfIXjBPw76tJaVLHVvBscKox0c2Z+glmAXaBVaYUd692m+hJOubl1kr5cCq1hd5tb29gi4HV+GAlTEiS1enHIvHCG7O49lxpjhenAZvcAMP5KacvGlkH65mkyD4JW0CN4Ea7Qom30t31UNBjsYXZC6glaOVT0Lq99ax1CNK+qZkxHsfs97AfULet+ezr7I1vCafIleSxddsnMVbxPY9P8Qbo+Z73uKzU6DH4fQ8CLVvlOCTauk7G9iXLJYYO4Ia3miOZFNX3Ncv9EGTc8/T81/KVnVp1qE6rrQ19CY4Uc4WL3XllsJTiayxPCc0QEoL89kxy7HraSkv3ljFk6cbNLYaKNB/zoAMw9YE2Z5S6DNJmekyqvNMggEoF9BqrwERjDcraoGaX7JmAiftZMXDhCc+rn6ap3zt7ZCC7lUXuhwYXtq9/KZ9tG4ue/D9wOuBlg01iJUAulftbozQCU7Jq/++IJf/wG/QvvM4PogGTW+NEnHh9BuqK27Xghq8a0mjmOM/P0hos4IV3PkynxAgwCh7OLI1QVX3mbd2LVrA5ZHbdvRH+e8X0TfG3XlzngS+S+BY3PpC5iI3JjJ4ew47/SAFPIgQ7bzLiOUibiGK5dBAUcWTPc348Pmb5/vm6imHEANgO69pU1BjfqyiW+EU0ZVUEGyks4ZX+nlVuSLxgacB+AaHiNXX5q76iEsM/3cKoOLc6dM+AB2SIq4sIxUtwdALprfZvTQBJUatstzNbl0TRefpHx19Pb+3fOZKremmP4we/TqQvnqsHRwcu3bACz014lTyKHy9v3Yfkc2VN/IPEMjElRy7YR4Rn484S1a1rxPlNMiIXix2fI8RsDmgXp+GYntLD2UeGKBBPVg3HxaDYxOmIRx+bu1NcWnp64cHeOKL3jnjS4l4RmmVINTDDtswTs1mMvCLE1Wx72yv3VlNdugktj4XPodKP4XSaiVfxqZ0i7o84eniw1DhYqWFX6Zym1Q1GkIps18ihzd0jb5Ss5Zc3CNyi4QRugT/W185aagJtwG+BDm+qNybZi3paVDKaWGCXO3BliysCf3AlX5QjjAmpUmSQr7L3p1tDzqCbVzTGsakLGcEcUdv2CCUuMG5L9mEquTeTav1LMVVPLuyKPMRbxaAHz61AqZCA+8Yeo5LBAJjWMl5SQjIrtzwNAbEvw7mzNKQfOHMeseQh/Fqb2QDDbzTx5IVzjJR3tXdn+qrbyxfTYnsW9LERzxUsM1edXKy2og9V5RvHF7Z7J/17bj9nETAm7JSnZL0oLwVINQKR+/7DRxLwg3BD4xy1rzSlEhM4INAKdpZnz8n4KKyeRJZxcYRz/1sVFaYZBxto7HkvEIxkfWCWy1UIsbKEHEQWM3YRx6B9Fz0QHuSWb+6pLkx+3Y2vY1+zj5uCU47NFLMc+W0hrqW+nJYGja+ipOG9z7O1RIviWBPEku886c771u5WmKf//XLyLbDiEi2lRA0LCY2o684uBm3IXeAXxMRk2nUdIeo5Ut9QeaS+54mVzxjVfl6LxB3j7UOZGMjgGUZBzAJuayOEPcumHYF4ZGjAlm01N1DoFHHGJeXAcWxuiwfSwUxcPirVSsY+Pfldrrd1T3WCEtHXzB50SNE70Q7tm0QnoeC3nwLcAcb792DivHrmzvNUhYLTwLMJQEmY0G9psjfVVyAlvLn/UzEfaJKJntortHr0F0hHhvPXTiC015wR2D47aiM+04/wIsp0p+vERw2o7q9n8d9Y+2IN8qyJbk+9lsqvc9wLZbQ7ZRwQH3Vjcf0YR/IbNWg0o8r1PqzVaOxw8TcQOYEw6h/JfqZk4TjEq4hD6VWq0rv83kXha2b+TO/1ftIZWNfTU3WFlBN8JJhKQ0XJtDN5Uq45l/jk1Zzq0PlN/xCgIP5UWdC3w3QyGTI22eQhmMkmB3n+clxEubjpPNXQywricrPWoCi4wh+lLssrrpwksTbztfya6txk/UcDARhAWAyMHea0b/iIJSoA510jMwUFFRGyKgYylhTh4j3gJWG/keKowDRyCEJ1FMvR01+MS4I9ty5VaUYQtpe1zlJMDTBHzxggnGDXMJ1n/D7ajJem7zXnA2BysgCrAPrue9hsXFYBPlywbXNA1QfUwhPVYbqhNpuzxkbFNgKQEcldfCyVzNEXsV4pzSNWOAYwwogDUXLBCR86zdyzbHJiB4BXLLLgk9SiGSHdor3itIRb9iZObO0eZBg3K+1TNTtmFHCv4nmn1ZvB3iQlAHfDPXg+KBoeT6Rg3oU02vMAXB/Ag9GZCKNdp6abu6AQYys/HWS/euUuHyWQyG4w/5b/OePGUoNEPSUJR4LPs7oI16Zztg2eYhFuiKb7u4rP4dbyIVYL9eucA9mHowq4wwKyRX15+X6WNW1ugQHNJg7DIPuX3mpV3PAA7e0BYgIDeGoOTjv1yjQjl1KlcVhSHkqT5pXpk8iTJ1g7NhESVdjHWjiSsUMB2z3xZHMlTHuGc1nuokCJFO0iy+6ooETsnl3dB0AzVxmSWe4a1ATwqEkKTjuFHNUk8KyCSkC2MUocKDgQjITaiOSx6gM1q1nQxchDFAifK/OxK2PSrKuE9O506fjjvrTs3biBLnc2GSjsoxjRjG8NsAFXC8nxu1QF98pQhvu9LTJrR0Kuj8y+rZQWTJSgrM96SDo6bxjI3Bj8vIsTw0z3RtgCeAQ1iXG0CBBDZ6+rQR9qrDDI9jN9ZrFcc4CSZhL0vuwLkvDABvBo3NWfnPFRscfnbPEWlQFauAD9mo7wgEuY1OURqdmZe3EEL8/cwLPf/riuCbeYon1iz3l27ajd50fq8NAhQkw7d8cYVSp6erUZZqflMCMuPpFK+zXCWs5o4jZcm77wdXfu+mf74RYNTviQKI5wBqvOjE9K3Dygho+gPJQOT5snBFrOTanSbPMe9F+kR9OqxT8GMcbjisCTe4Ue5sIikXguUGxNw7rxV1ZinUY9ISrGsURZQyQmrEQnKotHMiY5I+PLBkX18swxrDZSkkeYYycxZvem59fZmSIk12eB/XBGra3Z40SyqtMhyedW33sdqhuZAm+TQ353tu0ZnY27MKjKST4PJyuDli6Wh1lGznWp7i8jFs39QIxkEHiw305h0q70SsBZtNh+PTo1rhTIkX5P1e3/M2AeOa/SNOP1a7lH5q1XZUCWwEbySUB10diYySbqjVPfEbRmd0lTaNffDVqNVfCWphuddWlNhPmQ+2E7kKNWLZmZfLZ7paG3o5kuk2wQY70zRl4Nzen5pN6bdRIcgR3UZCH2uWoEHEnKKHXtxl+0EzWRnZq0PMWYjIOKs/zSF8hdEI8WQeQB3cH99LELuooLfj45UOFlxksJfyYaG0W4AvWltjBgxRCCP4vseO/gcCWcTIzWIqGmw4IVnFyoOiPg7VV2aqn51fzbwQJboa9xWjk5VlMnH1g70/+jYlYHQKRk9JHsPQsYLKLN6fqWFKGZNmm4/2ZMJm+8WTztHImAOZMkxKHLwNa8NWIry0kb57v8O13J78GfUkIdfp30X4yApbdsiouHpI9N6sZlEYlB3vyGzzdxrli3B3rvnVOqNA7kyHWL++Sy6aQT5ce63fnUKB6WInnBiseTvwbin1HULNHHGre467JQWlVnN/Y7WbLMrSVz5Lxkr/WXf0+VjCWWjHgaJ0n08paUt2Q7byudmd7yPcYsrxzSZIPQz4YPQf9vnxQV9yJA3+/Yon9bA14z7KA4cyTuf51yI362hq/MoW2rikdtTYWYyto629DxB+t3ZHKafszvSQC3s81+6RLe5XgN+zolRiWI4PY8F3Iey1O7MVyEhD4QMwAqN8Jx3S6z+UFD838fpAm5JmtdyDz32eSUsyVM7NKVhBy4wGIg+yDEutw5bTW5QsGrGMpzKvSCion6/VQQxDft2xym/qM9LS5c5o/Szk98eVh0AoDuQ6Grh6y/E//8xClpcWyZ0SI7VTvnAJWYbNm+7WFYU3hxO+opWaTsxwymXu5JCQZ42bSEqXelygEWh0UzsIxhnp+CIxN2a13iS5iQjcGerGesGuGPCe8v1fdOoo/ljoohowclVqC/p/Osq1NdQBvzjvouQfmpDuPwieT9UyEqJK3kEi44mUc+aFAVJbMKLNpLPoV3APA21vCOd6/Kdts8U2HIFAniEyR4W5g+xw2UfTD0v5y+cT21N9uTp23hu8e4U864vZoCJO1OXTx3RPFcIrbQB8jJOySletaurGJdYwdsgjSwHjAVE2pHLng2OuuapuYoJ4IXipgsfwMFs0XLWwedcCS36ScefhkxbOS7IqHv7SvnZ/576H2XiGXS9OkefaNcpCi8w4swELtLklLkUpYNPpMrL8wGkwDci80RrEa8LJ1yCnzqNuDmgkD2lNklhhDjtELnE1vbmtDLzF4XgX4jR7mEXiYl263eZHpqPCBBAJ1NK0ClumgSurAEbrdlaw749MERWTJ2drJ478ukBim8+X78u4i9cLN1SK7RvVrr+OKj0niKmSrfOgvSxyawRORLvkgNtYNglvGMJuBscZpzEpnIsXSEsEMaZVDAR0OrgNdu3sVeWfd+LCX9f0uBx/ewouEksPKk1Nv5vcxOkFosWWO/0DljvFSkqnwgoXue5d8MDu860f00qj0dF7Z8TVVmj9JxacIIEOFs/69u9DhryziG1GFllCuZ/8GBMXNpFLHvdMv9s/mVoRDmqGo07A6o7ih/Tg3VhpFMIbM31uPt+zPwtLUP4LG0iJbWZN+ekH4lbiPXGKkjSUtHvhGJ21uD3S/FFt0027a/C69Oi4bV7TF1mZ3R6ELJAwCroisO8psFIhZKFepPpg/hMIVKzSnBRamELKqC1y5bCHIJ0FCHUhT8mSRhMEVD5WJQexNWLQW3fr+5En5+tnCX4LOkoL5WG9+OnbuA5TF7tD06EWyPFXjuuKRVns3RDcMlIsyIYoK6uondoZ8MCk3o/r/WbpZhqud34t2yOF8PqwogizpDB26+o8GoT1bMSA3sRMcgkvCVjGuRhpA0uw+J+MAd1r/H9ltWH8hd3vlR8on+0FfXEvytC4nmstgl7LrdzcpGN8RHUnNhLFO7WCMnkok9PQY9vws/ZSWJvatFXY6iVoVT7QJzWc0j/t4evn9Zkcn8gRpRP+QedOd6NBJ4YdpV94fUrG6bgAyaHeZgU3z/UZC0TwqHJnMj+cFIa0fKJYuu+zC816CYxAMy8UCcbMxKxJmxwYtzO9UqGAiZ3cHlctKCvtwYtHLBTeCr/G0kezkdZ5XqAW0AOlNlEXoD6G9QSjN3BujOyDmRH65OFcOAn1i2j481L5xke/9dNQbV+IxRI5cthS3BwS4+B75NsVVkYpzZMmb61b6hYgidUpQUHTJS6ZO2kY807f1uw9SGPqZNEjzDI5pEhHNIWLmSfsJXRt+s5abEkDDUo6v+fNA6LZXgSaXo+thT728eJwAF7jsu/hSOt+//nhVKHyNyvNC11kepSNXNHUWsYLUm39AHwV245OH6/pVisoq/eQye0LzoTgfVosiCfTC4ggb6+cAk26IHZnb9j48PHP52Y5LiiXcRBcp+/KLph+2h/yC9i4YF+EpFiB10xbi6DIhf7in9SwoPGO+F8H9Ok8fc7qYBhB2jpsQNJiIwKcKT1IM+wgG/fCtST+aohAlOSBOkp6kWgl9aj3s3l7ZBMM89dh3AuzG6DH7Ib6JT2XLI7VaWltYs4EIelzpoIBqxd2p3HDt5rhF15Q+KVH7+a/ewxnmox0UrrIp/q0VP54z9sbgM1FAYKlFMmR8eu9U9Bpx49VI39KY3uPtfQYc5Ap+9tjEtneJzS1zMQMW1s/MZpA8JRzxt4IdLUyEkz6xXVv0AEsJu38eERs0Wk+dkta3iP1UMSBhHp+yM+Zzxc8p7NZ4jUdgV9LepntR2tyIZ+wIH69eBC0X+y/MECyZ4N6EjdhxZgsndchsZYKeq1ElkPOao49reEBapZhYC7pGbbMr1mE+AWP9dqW+l7LV5eODQsKE2J24BTXvrsIgvIBt8VFxN+/4lZJrQF09o0SKqW5TowOEwodDX86bGVgoIUUkZ9MwXUKTaq2S1cNFQRCc9m1mug6NCXpEiklinQXtvzA1+LVVzwoIMC9RH/VvKx3vBAkaanMhlfkXCmpYfoJ8cx2H1hnHE/K2mv/ezhLumH4592WURStYGl5o1F2wSXoZtFwYr0h+UF3xVCqTvEQG0TfyM2SW7LFkG93XNl4UwDvcuu1uA2mh2dOfdZ025MHO0XiIGvASDCuo6cssw1mH3LVr96t0qtEAPbkoxipjTfV9eyQ22oJOGHWDMhT/LPqG0ZmsvrlWy/i2xW7EXlPUT5MxqT7aoixbsIPK0GxM9WtUbRBOHL6ZBlSKORsOBN2MmTc49vJdrAFWOKxLylH4sZXUJX5oj0l5kkOc2/slXzYLJMxWrl0L7qrunT0izAVNUmBy1lc7u0suZQpm7M7Qo+oOG5Jl8ajN2Wxa/fXVkqufUKVgfRm5HyAyFw6KTmZ0jKdnki+CtH5dJZC04XahqxoO2no+8wVfquJB8xiHbMj+Eq8CRIlqseqk7ODHhpHRjONEgX7XuozKa++ENG3SUHOR/GnKicgYS4a+EXwKicvIO5AD/39dLeRbPHGg1cIdrbMtRkxhfbxW8/B3IAWsKY1NU82q5Oykb+t2tqqwcW8h68o44DP8HFm2bjqnxQAC/yaMx+iMGpPap+1arSbNlIlzwAeHyEqnMTCUWmKH1rLTYeTz1Gnr4skRHXRiZMUgjUzjyP27RelGokbc0+W7PXKob4IfxssnN1ZGHAaowOEFdFC5U55FT3Li1psbN99vEQsZ6xmzuHqOHDvPSbhkKqmPg6iZ9lDzbjs8EbNRGqVHCYYGgdnXB6VrGSMCWKey346z7yCSGStmN2jfSrMq/fZsOpNOggRMZNfny9/9D/ByS/E9cWYnh3FKAtq00CMPHl6w/zXf2oVp2cn+GusyYeKmbNr7PeYQpz5KJQemNFYiuo2Z21ecgvQsBuXlqTVloOtlGlf0M6iSBe6GM7BW3wI3eFz3I3QAT4cP8+NLZcP2Gq3IwC/tnLIgS1lrm3GG6cKmrjC18yw/Au7X1d5xmLN2hZAiNr9HdpmfebiyN+nPWH7qgHUrvHNGdhtTZYdV5c2O5Tlr+E+nzE0Z0lTmXbyhTJGr6bDqihiMs5pdaYzEXp1/S0ODj+XvJyE7Ex842p2BXk7+lPbI2+0BdzOwLYC35Cy16lMEMJdb5s50NM00+1wADzUgqkTn9xv2MN3HHSreUNa7BGH/crqc4AdOUjg/jaOtPsf85/5fENwu+UFZX5RIf/5qaIUxzRJ1dnzvchoKUyQCnaBIJQMK2bNC8KYKUCsGaMEWOu/J3kXYwyEUPMforIXzQgrII2YbB75z4iSX/HgEOhAP9Al8Ze0oDXpwZmJUh2v6L874AkQo3V0CzdmYhf9jkEsm0vNGa3Gw+nL3ONHXo9WFBxYn4O29vC1KIAx+0iZzMup+pHfh79QP9VctcReGbxoiU5TBsNpmTYtj24lLxQUQBW6TDdQo+g26WDB/la4Ya5gWoxp8N679TP7ELXqHj6Ff0TjQbHKa+Oz7OtwAK1LuOoUB95ncwyWi7ErDlHYQe8zy/eTTDQvRk5vKAEQS+ICg1X6GZgCChqVswwJpwzbFSjLmG/WAFi6mW+HMjCOjsBnCE+FNnFDC56Vr0l5vH/AALWe7O2v82nplzIBrX+cXiRtQeeFs7tKndhO0Y79c66eC7Sw1dTk+ZEGV12Ru3RO6hGApHWOxKVAnM/UTqbB2ibpZ1oF3kjPw/8plp3FibwvpU42ScCJMsPRrBaOlvF/gVg8T4lro0t3QlebVw2IG3ZNB+n13HkpxD+sdH3R2A9XXKmnS5/WUNnWxpXxd2mVDwWBGDulg4pugLuw1Sn7qMKAiiXo0uJHmMkSelt2NCKV3lr6iw05XP1ESLEjhKvg/yX8Aia35dtvtgDgUmwhtlmZoZCBYgSKZW+3LWYhH7UCOPxbreoVnnVUs8XClx15iSObTNx/q405uGmLLynuB68cZe2hxz1mH+Ol0RLNeEmqSa3LP4/QxeY6op1vmLhsP2YnBMb0GW5oElpQAhSVBYr3DtBKUZBsvp18BalNZjTIVoISSuxVjARSTrwdhwLbUcIA+K50LWV2f4ynNR/TGiscHce+T52s/Ms/B4ruK0CJBV+AFlGNJWV9nVQHNDqANyT3/w0avP+7tbmvOUoD0F4/SQ/SYaW0xYD56QWzKd6Al20JrUpv+DRb3GrTABeUOAM8JxgqyJOgK0XLrBYoyAtaLrkgxx0qrw35t4tt4ChtYP4ZoV6Y7hoIjRNURHjdooZqAWkZFslQ+paqceRyesfvNRw1Zj7wwfMnvfndQHwm67F5PvMjxXh6IiYxpA4pztZxgL9hTrX66joSlgpm+HNXgwIQleMrhYugf8ozTZeBwu7nOg3DBNMqt6zdc5SVPhmzlf2lRRhfVSJGjf4aqt0L2Fm5ZCXhGzz+QNNGpoSXyJNMrgB3J4K+LA6yMSnEvyI6PiGR6A+IpgvHU5JWkJcPSLL8Y9jv+EIB/Xl9nBzVIlCbgKBMXr2tC+DGmMtyHPmNAnWALz81vvWuvObS3dC5ZvMTZ9VLkb7JgqEN8/fM4vJKDNk4iL4fehGXU+suwoCJL7haINhyIvJ0lIYmcZBSS97kuE9GXWhjAznz9/xfq0uyaNPH4eI9mgWIyhbhC0ir+sahWyBlfkfma6Pw6eQTtIMEnNfvZb77EnF+QhYgmC+/VONoFy1i5ePb5I1TTsguz3g/f5wErZDo90TOoGygEfrEy3lmR2n77B1ONV1L2YTJciANofDxe2wmIhK7pgUcHvs6Rp1Qn2RGJ1COdskD5xwaTWo+KzfDB5CEK5Z1cWygihtMC0gQWC8apz+1L+CP3wLa42E5qKDgmvxzJfvgnQwPqfNL4PKmY+OnKdGOBOXDnoIhDsn2B0euTwXqbgwpjJGR0ufpRCAQtHn5eISSodjNZ/90fud5sOWUDhzApEBy+DqHCxRQ+4Sb4XYByJ21Edo7gI1Z0zau1CgAALeUGJd+AYGyaLmPS1aoDjvFMEpkZKshF2ArcJQAoGqMwm0+/9Wvkwy3WLipdScw3+ECDZgDHZkoywZLRZVY557Qo1GjMrsULs/zXccvhTko0PwK6EJ+DCHBEboLy6vnsRlyPxTLKF5MuJxi5fYJVrhS3FCS3AzZtibVVeiK1gvJoNCtkup9NmFw7GUI9uvfk4t34lhgHWx+uWzAUCZdwCsBY9LCY2Hu9ixpGP5j/9qDvE13SCh+Sx5E8TPoiRXXIFXa7hG3jNyLf+4l1kv1JBbFTU7JkqDjHajqVF9J/LXmV7aVePXXnYunLYnvbx0ej+ojDqZUw5afgDt0nGkhAMYiaZ/7dkpnopOgjz5X3dhwqXWLwPpsUMXxfqXmXl/pXyWircqVkGAAinLcV/6foFergX+rcMAphzFbgf8eraYfgnnxd4ZBFyiiMxzaEZ8MxaBBeL6LNYjfhvN8Na5h9KHYME6cSqVBNg8I8kYjRQPBRlMxb76YcyE/558rMGzxJG04b0xkJqVrYVbFcVwWMDQOIJ7yczwBpweXIsUGvej8EAWppgZ1RxPpOCOs7Bhsn3hS53i0LCLRcdtd+IWyD7Tp42XyhHsUp5VMS85Bz3ZPgYN4BJur9BZk1u7hieIo2LT8OwvZypg5lr8t7kiJPOSoGqdG1Rpb2EkjvjbSVc4N5goNy/6qy3dyR70zDz8PCj7xQbIMw8yCXEGfCcIjZPTr7+lgJdHqPFQ48JBr/bFyk2UXj4sKPjq69dNpVZ1wBJ9YM7q7A0UJEopllYFwZ5lsp66fRZMg53/sfQqM+lu/L0viyEGtxdXYN7dxFFRi9LbULNbwXzH9rN4HV5CNnTUkYXUNnlZqSfXf+f6Cc0Pda27Oisv/Al5pCbI4w+Wh8UJpElS3lTfCb/3ewrncN4e/KzChk5gqYbRFzq+Wf1tbNg+rGK442SxsqfzbCL1KCjd65e5ZiiPAsdI4VMVOSmP9u3S6Lj3pINMfhy2XaeBYWh+uluPRUbUYkCaGajSiP5SmFKmsIQ9d16W0ZQRiNtxj7dRbhwghjjbAhiF3Cm9s1O23N78j3dhmqnwalQabfbn+JM0nGkLGi6eULF0doJnX47FPckpIz+3qpp2G/bYIEA/XkhYs/nmoZ+AP3Z8SYJT/3obTmMOvTnljeS3gmYSg6PJ/y+4lqCIB5lkSLNwuJkDsku8qJMmtOPG1epcxIZFnWpVV2wlt5tZTGxOZgROG/1R2g1rz1yZgmuMn4PlCTxBiTpaVfdYBxteqnN9woqi/b7lYIKM1hXl76kxMDHdeaEBiNCr5nEjcx6b21iv0PBPaRn3bXhJr06gy3omiPAtWHhLn7vWvV4H5H4YOJDD5sv6m6vFNlKg82Qshl2CZNsHGYPiJ1r01U8avq/u5qJdFprLFNZn3sc4bIeWYRetKjJB8mtzXNagABzLunKFjhaasMQ2yuI7zm/W29doZpLyvkN86tJcFUTFikJFPus7iPjBwPTIabIEttAIyrjGr3LJkSZt5B+Om0eykpZ9LNZ6UZwO7JBkvraT/2BuU3WoZikm+kawiOYSmbc6ybTjgiyFYbiRu3FZN3y61DTluAbfCgSmJmeFetCp0MV7GLz/6FGhCaz3WNUo0lfCn0gEsxo4WPwor4AJem5RR/5X6MkhISyp+JUpYvGpoCLB+v9DYva7zsNoL2DWAEfx3+MCfRhXM64bJ51ZIFL77rsTd2JNecK5d6BXH9RiwURHYYVHlsLTLbOIyx6TphTP4bt2pvTfKFFboY6WbEG+9cxe78KE6ZlVfbbQXBsEp5vlIZkb7d97dHQUa4hfLdblQc+xITzedRl4OUxTtDEs5z+0xuIl+0u3+ycRUviRIsODFCZA602W4OCoLc6IU8u0r+rS+XNHTnpz5l3pd0r8UIJVIcU9NHxQWTIkG8EYBOni+BZwUBflJHJrriS+T+919q0Dzd1ecgQigo/ygGkAfL3Wru0DdDUO5lqM+mecHszEpefV8trK2lsZRprWqygcVWqDFsK8Wvph8ChOQiZC+o0KW37CnWDZOUQNSFXuffL+aLwIvMfXEhb4lq99Yt6WLoUWeYU0VidmvP8MslOcjn4gqlPBemNUFaUcVjk/LCiI18uAiNW5nL1TB5TCLpiu0svyeCHIttN+WZU+pK7i/utXi4709ipkrYZ9FqVJESYJhnxMTEw+defLGjxZW3KEFe9Fivc2Hk7ukOD0kCk+6QuOq30tCidnC1oRBPMW3rBfJ/4u2RhO3cuctadhnax4V81KfFau9G81w5nHQRo8yw6cXJ/SwsMAGj9UCkWN41IWQ/7hp/cyuaCc0nKwetzkplXuvonmv/P1dFMP+1T7d2ewazEqn3D5KN+Q5Bq48d47dT+Qpvg1E4ZqidmOR/lCqatVaXoYLcqQQxxPCcBkLU9TzyrEoR8n63FonqKUg7ZPtg8wIOuuMK9WmejUSj94iuQ4r9joFqX5OEdfkDixwjHe6rm08V/KRrGgD7KmpLMamfyX99ZBdbWqXyYBGJ6SANpwkkGfPtBwWrTRaTQjv4SFtKqMXdW8eb7su0SMWV+AQtx5vI63a8U+Ay/kbO2q273xIC5fzszaAZpQKs1RyXI0nXZYLPEcBjp4dAKd3G28bUVgTJocpeS9BYfjS9WZ/PpCpYBlMRemlNqoJ38Fp1RLv0CX15o6qX6zUgPjRX3pxoNol89souo/rq9FNAek5+RAxE2r/z2JHrRJGvCDfNnnlquLaDWhIV8aoanqR74bZ7eGxhgITGEbAomejrPmcst2XYxgComgNk666wbT/d3sCAatgdd3pAHgpW1FeC5O00qHQv5cu5EO52l0MYUupKjHdCn2k5S7DABHt7+Y4nEFe4KuPFNagx5zxz1ZG+a0mhoJlUmNmqRvY0RZuwpXBinVK10yqmM2R0TWA64+KCDVfVLyGXregZnih6iEbUmdsfp4jnoEjjE6+xCt/BC7xKuZ5SfVZYWPa12MMb+IVLB6TLsY4A6YXZ9CkWDeDC2pxQh10s1BpxTis1NzssoMe482V7c8d0OlOJEzVM6NXvsg1CYX1yPyoEhI3FpYGhf81bZrIi19V6NL557oCEaGGvU6KhtSPo2oadswMqsEIoJyiP8Q81bQfcXrcZIhZOI/fmOybUwdPCZGTmIVbQ9mHp9a5arS9HXV7Fm3LGSMwN0NSzpu7MB7z3DkmnLAJhDEG+f0iNOJx2JybZASULD9ShPJ98ONNbY1vBUgKr+Qllwk0pN62V4/J0o4/eVE++YQNiLl94IWQmIe1gIRSlrUV7c/P2l9lfRmYe+6eBDpBXRO36H6sgwXZws5IHZWfu80Xx87x0MDnKb2c2BLcqQY0dTs5aZRnjimJSquG80nSpBE7jCK2lQTWmaBJt5pgeffzlYoO+Ad3madqM20vvSc6v7K5hxlXUGQ4gNzhUE/PfKy+4yAHuELOgYMr92WEWcnDWMA3XkicZfFKX3RoMDBUTi89G/e038A9vLZTGP7J643MZE7MTERIfZJDQZ0KE2hzpFyQ/gT8ZM1PhrD8bxioAX/KVXkYkdo2s484BGSosgx/r48B7YdJLMruImOEk1HemGDx0/Q4YE1eQ35DCoVVoWhN1XcJtxFLB0W/1K5ZxMJZDGQz9QEdTCgw4m9w8I7w+4hkfGR+KGYx+naEjozOpSFNTAO61VIGio+6sPthe3xqTRjKQocs1w2CXD8uQcC56Cw4p6SxJuPH/3O7nDjgyyrQb61+nqpG2H4DsDF1e06rk7S7osfgkj1pdJq+ZIkV1J8ic7lTCkP+8Fx2SD8x5gm9pgqp2zWevYc8hmww0tEzRxo/ax/bLZLE3l1gQSKc4aJIL6d5BDxA//NaX2px2wkePu/ishYpC6zAsDCSGLtddOpXjPRlhp66FfLb4/L67MzWNp7Gtw/0iGVW59ccrMecgnW6xoBQJWFyLzngW/+AUZsVcyEeD3/2Mthc7k1OdXo79kEEisUsZfTWosVs/Ts3JahpY+ue7wkBZSe3vqtS2kS+0xUT2VLGbAQOtBDSuC9muSaVhBeUksozbgrLiJ2/cFzaxbimjbtAncVxmAq3F+dec6AmoNg+RirOT6OBSzgivDzM+CMZ0krsOgoa8gK07z3IIzp5VBXY6f6e8mzBe4dqY/RF31QAW2VNOwqUXEjoddUswpKmM7nPHGqaQa672XFWG1JEAAbKgv9nxavovH4EZD7jdKS41PCRcX/xgabuuOs5sawqpOBq7SvHWP6GVY0dfMDEZ5zxxy7EJ7OgUllHTy0m+PwbSWVpEoE6GXXOdX90PTVshAHmlnDVdRC4rtWxnhipmggDyz5OUAn2snvM8+VhrPNWE//ZuHxPAFM8rnTF11R1mJwaDap00sX+RT+TPeyfpeG+twK0sM3wyK/5y15HBvgHxx+SHfpnZMaGWCp8UTYj4YISC+Hk5HNrtoYJFF95uOxDbmbcirKMwysUo26Mh7m4Ku/WLMVxT+kfz6hmVMb+ygY9uAEKfVeg5HKGjORRo8MLXgOYuAqgn6VQEzfbvGP46/KpQwgSlYNue5RwHLqztgxmTLu7yS0raQxEzU5Ujr7ZXOuelZu0jmchCqyAWNRqZ/gZMWPnOWXdreJ4WdDW1K4GCT8yL0nsmfR+MG135qRVx/EwVItNbXy+2rVt+GdteXqzFx6vsEoy9LDw1llrKpkg3CcaQmkAoDWUIYhbsvRiJg2YGf1HAX14yFjiAm6xtcNPPExOVpdHgnyIrR2I4iCUdG17z9O3wM9WR1AXkgWgkk1SAs+n/JUjKIWPcGDyMce8G1msu5KqZP3X0Jws6gouoy0AR433ZO38GcSV46yJiFTMDG7xKM/BkvdGMElz50uN5MLAnC1kjX+53xeOr4K89TL1e16+2x5X848jRHU70fHYfXpghC8yz6NfphJRGEZhtPogXcJdMeeCOjB5RDbJr8yrJtVNo+JvWQvC7+B451dbfyBr/4Z3+6hMmpEMLJLw8TGA1shpXKy6zZwBDlPE5qizNGGRCeYzrsTMfRUP246bq9Yqo9ZLcdApkbh1tQrY40wnEuAX68JvloXMCSP4KCWOwFqwK5zcneaAimDjS7viM84AEsXevnX2kRR8pjuYVADpDVUWqXMlUJ7g3PD665oQIyVTjWGBq8p1quuoYPxFiKVroctyLhry+7I7/KHgTpwd587mgWZi+DPZ1MyQl0BkLPEYjK+T4lKoDImpQFOFENKEc81FPxZBg1GTwbzOOOxPPlSJKkvpoDN2cW2IpLx0lOQUw3zad+M+/c5fcSCSYJfUkM84+GH+BDw+YsqBRFNn9QznYrYk9pPWEnkseN3dx+ZVZCL3B2AGMW03l41kf3Zg1WRXdOU55J7Z4mQCtb1Q49bDR6s1J3r9cKFh0/Dt7K0spFLvRoqQa8YXQA1HdtJohVFa56dYNcbcHqbRPnGa58K4H0n9gZijHGU9XAzuEXLpeyLNZeI5c05Uyl01cmmvwzwcm1RAVFDgFMgnJJeCm8Vr5GUjWRfVq5JivEOVoomi3tSTA7c5SPSl4UZpPQ15o5N8hPhZ2dJQUTt+TRz/20uEoQmo+mwxwb8btc/JkkKQJJsBoWHVkUMxSEkvY0c3JysJP48ccMjvvzaXJizS6KGwvhxFPjj5lsvmrNeMyiwdf52DeGg+L+kgT24LZacIwIhbKf5ytIdDFO1XOFsbjhkY7SDL9i+6FA9z7T9UXa/zCis16FRLYDxBdDqiqKJ4IXVIjrv+1Mb7SSfw//TH/CWjotDt3V80x8WpiP1UF6G1SLhFXDYWsQH/9Xl330pB6/IkxzEVayHUK3SmFD2KCAtVPLNBf0mKmAEgVk02gDysuRGEbya5Dd+Imz4s/dPqlnJ7sYWysll0FvHnTSyD49H1GOFGU9/6Kq67jCmBMYtUA+3pSWPxyk/dVBp8ctqJ7pnEBTvz3PIChTqWP1L6w01Erqjvm+KOvuwr0Or9Gw3atVGs5V0Ch3ohatDKJeHVnsn34Ak3LmXywy4EQiU+M63ookyOtNfrxCL30MiAN+nyi7wnJBBtSFNXbv5+ukasmfA/EMfGSgDOK/6WDbAfUZBKKbZP9i/l/daC0ta3n8z3dHfhqVMQMtuhyYYnmM6mo9bstI3C7O+hpsMioB7tj85KYlBmVpuSKPjAEEUclHsJScy2lMX7+Wx1rDYQHdx8s2sJKZarHLpt6QrW3rzpUEZGGaPWVUaTmRGBVH7PyBNrKpEl4fTCaP88a2RCf0rO3ICjmBsAHZ35b2SINoRvvbbT13387gghx6HCWmjfXFFLxMOgug9BAkYDHV9D4TfFOsImMmwfeCN4Lfz6m2nOtrRYP+6pcHH9gwpnkHrb6Pd7K3NUkaSYPFi65KMQlfux1uoKbiN1nCwYPRXFe6lOMUckIDkHSRF/yHqDD/XCUUC/eN05eAVMfrRhKX6FxMNbCgZK2aZEV9nhQknvh7Zj7GlkaHeIp/q46FDbKlY8718Kiuqr8BYlkzSNgynhrhdMrx9r+iIJZO1fmrtqMjN2zVR2Ad8YqdKCoSTLZmykOoyxdBGpEjr5jmqGrNOn5pIzwmj/1ZI4QIFy9GlWxNzMZ0oZDFES30CGz3Dl7hu9t5XCLfwTlaw9egMrQJMZlpJGl8D70+eCzKgO+VAtVs7SkyZMNqF5pWynx6XmRP1rFjLGe1K5qq4KbQMUqUpnCciYZf3DCPlwtr7kQKpK9RSfjH9sjpFhDtflQeYor8xqSQQlg0RdQFoVjc8hoivi+rhQNN8C50yvWROFFKNTyH5UMCgznNQzeCL/TROszG0tivxHO1p2uvBwmgOf4N09XT54qRFv1+/pB86jtLzfbjcBboxT9eLBQMngnOvF5Pu9uNffG8FOj1h3qfRrUcVSNEDOlNME6T/2tXW1xLznHESCYllaKFIraw3xlWZp5Mw3aTCi+0nerdXDOFZ6AGofw9wyrYFIdS5ex3RB3CXrgya78ztEfQvUXP5VzO52QIqxB+RG0qwiVq9Cd4wC22XdbmRvBtJbNBZ/2FB4okt/EHUBPNABMwK+6jEw+tSJKJROyhIZEQ+7JMZppoPZ9eZFZL/uBIv7jalC4G4yQkFFQGWDxAoPar5A9ycY/rHm5cS0UtUOn2RLRoVQ6RqW2wM8QEF2pbIHb8KXXUOZkPq8/xVt1uZlgdjhTF+FKft1gCZlR8cEmr6b6tX8TnNV7iUBN+Ej7uYQQUscbCpeSmIq583doI95TgatqXoMQFb2+B7TDoaIueaIAXGrf55fAsPNyrFEk2YdMQrJkm1ssO+qcvwMfr3tb0iM1jDO5S2HtZUKxGzVG0xI9N4w5NkQywsil6/ddbpSF84/hLPJFhEcquAeTRbajukF2XwDVaCJdT7BbpYSxLZ6UV+xAjy6dIY/OHYkWy10Isn3lCVHk0mhYbQDCOyq6mInGu7y3T3Y2ssp8ZK/EddWvDdhneaSz2C/ZvADcQYme8gLS27Ghph6IgE0idRNHFoUypPMxI2LhgDOYS2LcWo+zZhddyjv8YX15EdPPIEaEzdXKfitthvaRnOtoLAbSxtCCvKSdVBbFyBmpC7CONAd3oKYTEFFhBCBE7ZPh6pzgffwDRly+uU1vywugC6SlWg2XD22RILUT5ec2V1uIMf9H3G4jQl3UW9m17ryn+QJ19m7C2bnybAogPJ+ndpkztE4UXSrIo20+xhwvv1Pg4nIdoko0WT8dfYKqe89Rx+8vVVvflCjCNtbf3LfK8FVVGsQqEqISX3cP7HZKA9/jCvgjclp2DasHGaNcOs0NyrC8pdDHdxrF56AsLqXjN2fSTk/Dfr3hdWmCAW8BeIcFxVnX2OXmp1T7r/BYie3hUF4kDE0fORSOFhd+mhHLFZYbiaB6sfJZiUAzG0a7nE+IclIG+0dXqkWbQIy28xQsdLaM/0MOmGxBpyrawzKTaMRtLDrYMqPJFTzES4ulPpVvTzLAqe0MHUVVMjIdcrMp9lvaiEHX6E08OpNkcuVrMePPSqgg0Y0z+eRwi2Ub4QQI6suQDL7av/4Omk1GAyKmwooLui/Mva11yZW2XCL36dxIvUnd40xwODDM+zTXG8+gj5g4HYSe61aZalqq0RaAwSFapTdA8l1D9f4bbI3x3Ud48UYWmnk+dbqJQO1kgVySg8M5QzsU99HYVTshIw8OZyjCxIGcGkYOUufjh52d6ML41S4kBVr/2uVz2T3vpL1PM6lCYU/G51z9gICo+JyTvt2IpHFxRdmQ4cNHjAUu1zBTfIKSzoPEQgcsRmuwe4x07qj60s6OhzEj/jrUYcj9u1Pybc2FqbmJ2OkLFGLYbY0shzeAH3xotv9GpWiBq/7FaXOf4X0WEiVjK04inevY+n1H2WCT3EmJorDTy4bYwCNyEYz7sMqQxHZgM0YExLZJM6Cu2GoVUduAahiQozQwWof96u0OLvLfhJxuv5uRLe40p9i8B2jnyAGoJmciqc8pAHE/tS1qO+RfiGKovgCWwzshcDRcw2Rd1FonfhWSOylCPXLbA6FUHFYGeXpVe232lzzxGO55FTUFJ9Xo9hzjDJTLnkv7/HHP4Y4MRdq9jrbI2GE5zciYertjUmZUUfuVtFwLtmvivR+djxTiW8/kCBiHdrO7ZqWWWWIzcfr9kwJWI8VDpLtvfVpXZGH+qsVZwh7H2iGmhtB3JRP1CRQ6Giav0+17VeVx/ZCrbetzB4LSkabnLJeElDGnFz1lhyylZQNkMmh5BPmvxEUg1GhiNJIAYr/dwFTA+MVxsCWx/C349YN+Ard5YUJnAZ7E/qXwzXUfs2Pr/KQ2fcpvPRbFDRT+HXxxdAW6iowI+CEf2V7Ba1/PFxDkBblW3GdN7W37R6+GX7pANInzbbOLthCk+v+sEpkz2lpFSkss6pvKKE/g/Do9r9hoeQFjAnKudF8FJYYVqHd//Yr641+JUOj1nhOrLw54Hv6xP6tIsO6FJX+mzMk0tPlrr2fijgZbLrj3HjHTF8jgV3zumaabs+1fnwx7Ex8CWytUc7TX/eWvkmUoJTlhX0Bw9ai5XWozwV/fe+vZJqX/xVpZo9amb6MiKToYd1FUvm8/S+3F1n934IuH02FSyL5DppCFSVYR60uhQEQQ6a35u/wAUNU/M+lShXsq9bWBZy4fGD9ms4hhICjCZ9hT8vt+lL87uptUsq/34/fEWQxt5gA4TW/IoIqVSKmT89cNp80sNxLdVxVzYpCeCJ21Nt9UINOD8K3BWPHKUfJId6lTd6l3ImKhRXUXO6Y2JCIV4X9iMeiziTNDuT/OMl0AUWs8Co8XL/coZSUxXWu4v9At7dqrcSTi8x6krE/6QM+/KbL0tVUP7oL3NsttqbeUgalXWnDWY3PEk/sEFW3kY2RZ+HBc4Y7ZCeZc1rzIY36NHDBqKvAkPdga7wKo2LeApwLqfmRTs1pIUhs0GinHFrtl5lyWMm6uEG247Er6gCxBXCKRxVzamHiLLrX51LfmJoxq815Mn7ABBawxCl0259zBrFRZnywRUI6IwYXy4iXpzpyB0XtdskZcuhqDkYJjqSDDaryjidFRxqSYf4hQMq+uAnpU8kvSNrD/VL+DMlpR8k2AX/rEOgEioxS0o9Os7VfvsjsZVax21jmXDpQe2MTSbebUtGqAnie1+y7qvb6+0I0G4AdLhLNBT3dscqSefu/N7GhWkEQynNqub9cAJ/jQvPFxg54im22+UD/CSPDdCrs8l3zfP6A4+FwTiq7OiRxrbjfwjY7D5zBM8lzlqiaL7VaK/3ao9YRsXdYtWkfvMSHttVvoFH4quNNQRSVthpUvj/Yp09daoPCUQW11sDS569LYfeDZGoKn5Ys9jqtwcQNVkJZ0bUX5Ch5NI/OCe0kV+LGDLeDJpVZDlyhzY+hqAMjpVfb1Ku9scegegX4xI7RyHikZ3gV7MSSTmBb/b80MuDM4WeybPAqZCllZ8mxRYpHUc0opmcyUzkYVMp/36nDObUHHJum3DFkaIy7gTOrgGBIYEcbpxMf42F2HP6cpeqaDiK/5ibNZfniWCUKaQSekAMfQmz+XGvJmPjNx49Fm7evkYi5KBXtEDWlenJqH5vR92Nh+0i2IWa3RJIgsGoXU15XcQSr28AVP8xlnDjtomxcV2hbiNd1eNnyoOm8hYpKElNuITzMP+NmkP5DWHUpJUyhf4HkziwHskYFVSwcMJVuIB9TrCE+eU+kWolZ9xRZyhwqO3N53eybR9eoCG/9hAy9dpNZXbPyY5mxrdEo2mWuqdsY/8t5ghuq7vx7rPXM7vIak6sL4mqcT4KzcG/5jzwFgBwxMQiuv+AGuTB8MOotW/yZ0ddxPBOSBTSlA+rjFvUYtomh8PDOexPdjtYwMNLExySNY03aJ6k+3JSrod1zEfhnmTXq35sQ4KN4w/n95812B0VGl9UaKXP2Edt2GUgyEdqvvx6xnNZaaPUXb7Xsh6AIWuHHf0PBgnauN/7fZt25lVEQBK6KV9GdN3GZHw4o4TAzWgjAlGS0E+NGO0ds6gySEv47nmozOWjDGKp4w3vdyv9KBiTv51lQTHqnY3EUgNA0vvQfRf89A7bmtheBQK23NmkDOdnOrwsamvExWSJmfFLJkUMLKslOQ1Kot8YeSdC+wZyV5/LOmD9yOE8gYTQexZOUclhbxjgxsI1Gk6Z2JVDk77CQTKH0kqMdzW5RxWhrcfuVG2mG3EeU8QzJKnXYu0J4U/UUYL1NGX9DQw/OsGdtnnQtqvRKaxc3JhNgLetg5xunXQP2NIQ5BXXkkz1TvG0H6kpIsgvSh+MiYgngQJRNpWLy22wahoyE9+dqZRr0XmC1etGtmU2OWk3PYFwNbdXmfYnABzAbii6nfGXz+lYR0U9Df2oIZvjgKNRBWn99oj9pB5A1b5zL8Z5wTVBGihlb6cXXhqiL2pgI9/XN3EQnPE/j4nYJ1qglfsx9gdejHb/o6aAqs6Z9Fo9sTkN6UCWhcK6Psaq5R3UjotYqZbdjGMVyusSAXhkuudlr7tGHxfuXYWlwGAaB9+dzXYz7CvCLxD59v4/jbL8XngvB2sGwGL+Lg3SIFP56yXUxcHrBLYEyaZmYqFPl1N+67NJitpoeLpt6wi5j+hV+EDJGNG8BGfwFwi2yxadxQKFdr8R2dFzfezNaHrXqhXee+e6WOxOB34VOMN4HOWJzr3GiCVAFE90YnUHhD873/BetENyMu5DsoJuXESj8Hk79b3LhLgV7AAxtIPD7sacI5aJ51xxY1XCr9CSNnOjy2kJi2Wj7OlU0OEd71T5OMdz5kLN75rB/1Q1giNadltb0kpK924IXsoH5jwsNTlnYhBcUzAYa6DIscUA9IlfUjrPkAxAgRSDJrSZNPpVWu694Sj1AhBU5KNWBsxbz7sTXBc21J0WGRSX8zEw14X06viDO3ZIp6NbHnMWc/VCZ0GFtuFp1gdGA/B8xVPPOPR1szb7/7ROIaFJlY/5kuIhZ/U3VeoaeLdqbb7iHOLEPe37GSE/ZmJL37RclbNsZ/tqqIHo2+8c68ZVZBsiEQ2Ysrg2OAOFCgT5gd69XC3xbtT0lY+E450+rroGDEmPnwl391uiXWgvJGe+IdALuNOHQNFlTOd0n+TtE4u7ilkmCv7uwI0qhOhT1Fu881IcZqVMovrcfDn+oDWzkQevPinXTEmeCmKXsRx1BABEKolpHQoyrF+aFMpiMmZ4shFvoWr/KzGY+VgENjCglqK+7x9qXtnSZ6WfwxcQJaTEOmKes++XxXIocRMykW2iRUKJydroujdPg+Q3aX+lE4XC5/arETG2Zr3RFnz2S5/VPf+NVzqTo/+IvCrUJa5jX3o06JV+RsQhwNM/FODH4oa9RVyX0LwAANcF10ugbFG9unwRnr1Luai4HET7nQY4Lgrua+jz2ncwGBbleb2Gm9kKBwQq3QJzpKZJ1ksrd71SmDsNrVdUJ9ukwFMslbK6L8EvPmFRjYnxfD42HX1/3l6gsspqLeEIeGFGDODAKi5g5lV3iQqTTzM6Xf5VhO3RCBCgsF0PxbEqykPHQ0AvmGYvsTJLoJE2j1FOuyCixvvGl0tZPpuCaQg/upoTM70lTL1v/OwsleV7VpZ+9c0e0fhIFxKHSkV7QdhrQ1h3Q8sE6L3F5FDbXzyKNKgnr2n9aI6YBtpL9C7mk6HLc4i0vnnHOllgm6FeWml7WY7xF92niTY4+m80Bk/1VuIVRx5C3DmrALnNWdAjFnJaV5fy/VhKDICYbZzvBX8bWMDyonVIKgX4EaUO+/RSCWAJbKeIjxM8ZoOzLNTHOIK82spMXHlauLjuvwWXasPe7Xho1Rfp9UkGX0oh2E+h6zaXoNlQLz4JPkJ/DuorJZS+7mHLFl1Ad6/Et65fngmEJe/GoT7CIe1N1sNnaWl6mw/qj7oJqtLJjaeLxWRUNqYc+uEaf9K9LCGNQjBbCLcDfrx61A58CHF9nl790uIU5LJ3fCcMWAJypwGnTjjXh2KxYeJq97GIOaNoz3YLarXwENa1LlQIOa9fNGbrxGTeOiZ80uwwq2Hq0UgF8NTLk3KVUWwtxjil1sljJwV8XlxQe2fA/qlFQS5X5CVDJiIrF2X4+DoekOma4YG5Ey7TZfHk3VTUnmYEdM+uLF2iGyODTV3c7Pw2VKYUHmUtb8mMhLb9jeDqm1H9VqdsssjmZJ0X7Y+p+dVlN8VyP2jSSDqZPKYbAUzXGnapEr01Y9Eed5VoQ2DpQmDY6eSdcvMCglS6jFQzeGWgQSWP88mUTD2UGShBh+hazj/1mFVD67nzjcqUZFDRC/cFFp2DUNE6Tp7KYOab46QCgkyxBf3VptI/nU7Sb0F0eBckPtXngB/MWjSrT3U+HH9SckhwRXCRg0I4eYDe/taXglBAZCKnLloOuksMdR4CK2lsFvcpiRSQvWLNk+Ywu6+DrAbmq+rWA7yquBMHUuDdWEYJnDfwT/Dp7Vx1qv34FIz8OT8D6XI4txo2wduEg5pEBWVJom0NlhBJfMGMhPln0w6RV9O90g45dy4OhhikhKH1ujEnIbAfQuRVJtZ58necjIPgIvxWalm7ojAMRe//QZSqHjs2CGhBtq/2SsJmsfPs6PEi19BltkROvob0TQYFS4u4jyXe2Nvikmz7mYiOuCcuAtm92KaUTtZsWHUPr03H/VJra4YwHgTIZaZ2x9UzpUD5asEjQpB4xZoLIwIhpbc2E927vQFzYmanjlfjSD1EF4usy59aYWzhcORB/An4X1lGAMDDVWRfS3kBqWqcBx4udp1l4rP/YtVF5D7wqtDTbKLWrZ3E4kp4Bp6QN8TawhDNvS1VCDvWlOngUiuKr+kB1h8aAZ1tCMaQZyZ4xtxZaOu1xmX5WEx4qtWOwfGMpTbDSPs6CL1xaEWtxf98b2W6E33cEPJTX99tn2yLpV/RlEWkfrvwIm8i1eahzisjh3l/bz+hcrykki96UsIhEnU6dU4CEwUBAch3qBFhyezAtSJNqrBHFE1sfdsZCNIrUV6ZS16Q94Irxl23G7UHaqI739oEx02BMaYIBzHlIjNcEFHqfsWdMdVwVTRWaFlip9721RR5389gg0v1DwyIZKufMympGMIc3hGMIxb2XDQ3sseCTeOUkVh6LzzvnBUdcdJ04CIGP42WUOLWEhFBk7JnrJwTtW3hC9kCq7DOEQV9irFfUPGf31Y8wCcDwxSomMeTPdYvfjSnLZlrExeNY1Col54Ce2CwvGdjIeoxbYmg5MZ5t86bZyGXaBlqhQMDDTpSAtfhxs8q7u6HRCtRl8ycHy6bJAanQQrmLAJDSbo4S/hQEBOJmF0C/HE1rj/PPdBHSojUtqbzrw9a/1AILp5QPRF5hKb9qOzBEl86CTsKI5CoCDYtljaNzrrEo7gU+9gII0vQqOHq5ui5fBr/QwvBQF6+xzwOryw3SKb9BJ6lKJvlLScR2CKQTW85+XGUhv0Iv6+2E1NoEr71MxBOuWq8qjmCkN1UCbcGqAXWrF7a58SbO1nVCWHWHpz1fxSd46fVZLxOFkCDRrQMAZs+fBt8ax2CS5bQSwfoUbr16V7A0cVEcKL6Yw1o3n/CBV+9++06la/KYUWEy0uoTV9zlA1bTnR7yIsRzycn8DHJfQzpgdd0ts5rzSxYkmwmBmqUts/8Qpa+LLdtbL3MHdyTtU15fwEJgI+8jTFixkaxdY3c9xF+HHQkPCv7aoWxvSyCbQ+0aG49d9UFcvVog/ozbZfOJi5ekw4rWDIHT38AMWh/CPSnK46gOAYUC1XdZSXCXs07zhaaF4AzCZX9/OD+tQ6ghowE4lXg+TC2JbgY4MBUTOCDfB8b9nKlfTBHP2JzHzNtRuh50qh2kIjy1bLBY5453N0abGBKsA7/f4XA9doXHVE/xaYNRf7L4TRuXZslSHe50Imnl2L3pjwQGYxCcMu7diKFjrk1nQfPuG3Malq8XC93lgKJA4LRxp6imMwhLflue2vGUt0eZTsa2TwvKHevz1BkvScKrQA3fXOf+0+Nbgo3oFIUz9yeXhb50t8BOdf5oNCIHGjWJpEx60AfXGwNbFo9ndwxXIeUzJXm2RqqWRrsmKyiZWYNbNfWl0ct+Clea3tG9lOHcTadS+A8PUPWDJ5pBEc5igygckaOU/fViGIDTZlHb9iQiF1pomtTq6KiEEjR507/qqTozptfGcTAmdOlracJOVUbfV6d95XOTRYXX4efPysV80S36NOeOXdFSECbSwoHadgQFDm49M/PApqfU2kG8xcRi63qCs6281gmgIKCJ82Woh0jW/qFw+nRWDfYj7WISQ2QpRKzf66pI+enCIByDyCCSClEfr1hCJRTQS7SDaEVZp3jYY796Ve4Mh8TYXv8Cl7sGJ9gN6EWzMvS9o3ciZ750DVHFokuzt8Aui4TUEsdHZyx4sFdvZCIBFKPqBK8pN5r3mX0khz8M/mQAIZ/xngNDD0Ozui4CvvrA3Jvpw2I9FQveOoJX2M2oxWcEp/PRdeEL5x2bFs251Kp/Ccx83AwjbWuNIBoR3BURrXOANxQumrqpFH9r3Mb8wWucfsZU6is9m39KTy01Of3dVxfF46igMkJlW64z7wh1TqJg9uo12RIM3SWu1IiP1Kq1IstBzBP2RmfkGuxHdeZRU0IOHxdZpUjsCaboM423fhuhv+GtfFNLOk8AFTqbZ7U6GNuaO+KYhycfyzHa9X1rF4w3erPZGAOQs3nKVidlKRpLN0+yLL5okuoGaHBzHw0EHWKYoKWQ6uvDHtSMhpGIdNqPO8Ed2xHKHVmDw+vaBJioRNMG2qqc8QrotjHNCjOZSXvoSYq5fcwq2MfwpbEH4Hr0l0TevGhAfk4Uvp9e4vOVKlXA88byLR3558/ogFLb8bOw4oZUHE2YcUcfw6RYgg3suFNWv8EG+Varhk18LD7BLPUlizwAOiTBqnVDA70iou7iTCalFzb0k3IPkkpBEqg7gMA9NNCRC5GQmHOQyJizc1U2Z3ihUNR4PVE63vn/KOMc1vZepOoSPzzLGyXO55KGPDQvhWwzKlMA30uxYjpJBkQGhGxjMBAVQbqeS2vEAJcFWUlPjPCFCtUKLUSf6D2vGyWBDz/rqQNbHG+rlEIHjP7B+WU1durxWarltDluKnPDDwOAumUi9LqNhQuOKF/rSePg8+97y5jO2axaxvfZplGcjUxi1VeYCtNvIuivNKTM5pl0zSlLRpNrxe+iuYp18ml5sSwUYHn9S67+uu+wpvlcW96TYmnMLoodfopS1Rn8xbCaOWQqfjD7OJHIDs0D1d1Z9SA1t0/8xDqPHB3ErJkHZ3Nv6nPpFbv+zoU0jWoCX+q/EGUYWOwcaTxmxWuWyjp5zee4UcnCAFTIDcnseQ93N+xDZ/ofw01jHC3LAUcU8uv0PJeTWxV2vk1H9ikRT9tVe5iLKFfTx2nNfqvg4Ki6wNv8s6jssBWIUTWVf4aBb5yVb1bJGArqVj50EQWjyF/5Bf4sa9R0UajLHoMZxfo+oWWc/k7S7SyRML+SD7qoVjZvy32/J0f83i/qTJwyTFumXU5Ti3DQ3Tq384umF9nGz5iFQMXWLgdDfovQkturLl6WzGSL+UVIJ1POLztJ49mdXz4TAgXv8aoaacR1/AkrDGVuCbo9zJ4Tsn7FDXvjb7jGIlrQZEv6V1mo/hnH4s/3Kfyb72bnGnz9ixDeQkglULjDrae8fzm5EQUrxPuzOJvi6v7ZuO022L7004m5e8psO8Qz3nf/ozIQZD+2nIp1Xn/q7xN+7C6DRtHQoE+YeKjJNp89LsR51cfaonAIYMpNiyPmAZ9Quf51G+SilJ6+NO+HI9ztfXAf5DwrZukEPzY1VLQXZDPVaz0Z9JpjmQATUvTEYKCk1Fs6+NvrWwQQXY2ajmF/zgFSXrorZVTpmsgXwNBZ3SqEQuoEbhY4o8rQYiB68LvpYRE++1F6tE2emVuNZu15LRVksvFgiXOdwy34Cqv7N8Pd0OL9YOCTR2nErqBtXuMYEgwIvnf8X/eQ/Iyjt9JXttIA69xu+KYZ8ZZtNAtebw8/jjeFXF81Vm1qjwMefvFjHFXhroHU4/N+2kOY74wt/E6/bxBTTu6XJlj5sDaH1I/gmueD0aRBF9PogTHPRy7ediy2VZ1YkM6nQo4fItyvAoc/rZHp2yTt7lzyZABs7ppFab/qvJPl1XK8bIImssx/xN2aN1TCDC9S6xkc4YlfCmZJouzpBhmCyRizM5aR7qd6AC2x4+UVW3FSI7MS4SrfdeeukB0SS5ZaPJRtV6D5ic829ci/wZlvSeunT7qnKGlLfHdsd1ORFREJncsoL5cMrbL0YySnKBR10GK4aH15ZMwW71qGo+XO5eB5Frk12ef+lgeUHC7KuCdffsumc4BhNy9ZN3ZFBX7hlkod0gkFRKusiKe2vDuR3E9M3o1n+CD59JkQMqknWITFn1XCFwBWe9Okc69ToKpTTxrGO6EO3luQeQDTU/TKAHFAjkQZOAD7eGGyciYm5tsgCy0OcbSONlw9CZoZ88ERi5DaMzrGV1iDgvVOL7/tzzpYXpODcKe3qmKnRQf02AaZL23uoVeaYEQZH89ie/os3NU14SfeVksLo91j97qzNaHgLcMRAVhjjsKxQVuknt7cF4yyAGkCvNY/PeWDZyQBlYfKZkxOlrRY/EuFEXzCN2926vy0EDsleEzTVGbJRh3JvJKrDKZSluK1/wNaXy2oGvzWjGuVHqaiAWmoM7PL0dcB9Dno+hICNiD5NM2cp+/D5YMzXpjVl7aSM02lAZqUTD/j0EGQ8/2luqPX2ooqWDgLIGkag/CeoIfOy4/XtljwdsCR5nVy6JZXE5qIdzj1FYxVFeyacQUs1z5oGURiIeoKAvRu8hLWYEv3rE1RJxVBA2OjuqpB57E8oFA0Ia29XhCxQN7o/T3I2x4diTXv2jWlmdhOQHAsQnop/ps1K3DP6+krxeLwhwuIi6udd8zBakFIEEqpq5dw+X9eLDjEp47SibafA8tC8kkuWLJTxsfRIIJwVOcbQY84oOSXAYJpkCPibszZ4UwtH932F30FzRjrHrw29K1QqbBq952FtGKcGOeAkIOkH9SRWCyljas9nBpWAMn465FVhn37aOliC4BP7M5WIiVJZSWuwwlasC3vMSF100iua16Akvpr5BY6dvJP8CPLbOpiUjC6H6ESgy15CsJU0AtB2J1z+KzXAsJ4tEAu9r1bpLRJTV4wk3bRut+QMGu5DbLxj30c76SHrN9Hffpf+EQs/ooJdVdETAhgcFifNpXe+cB3c1g5CTUR7nA5pSihOzIUnkrttBL36FFs5QLQc6DprEG8VR4UAfUhT2kD/6b/dbwkmZ6hQUuipb4gw6OzdoqCucPITeLWAgsdRw9b32qo1HKY5Cdc8cKYwvaRkdnIyTDXa44gYEpTRkZOCjTdS95uKkHwyZaupvzyQ/NQaLi7xTn9Bo0GhFcRLZPRvSWYbR3weBbX4FdpEEAa3iK+wqeOzSN6tnghBXEJWBlnG9wHAzP19eolQGErvhfHHRTPquGiBfVBgHTCh2NLNf1U4IutUbSmEMD5XCvvsCDIbOqrPg2m1Ho96Vuox2Qxaj8yBXwdeYq65GAJ8keNxKnw3yhc/egKNhCydmgCUQeEzixyadhXHZkVGndxXqJRapLwa1MrVgyN5i+A0n+CA203flFSsc7ubeisAZLGc5t8FiJE6EcsSxStGFWRMeclwkE0to99g4SzL3PzKGzXZ8juVBlN5ASaC2H6GQunzEzDJBmelpCMHCMfHfwo9RBkrU/XSuSeX1GY7cJXvPfMl2pTapCQr7dfi+33QM8yhcxzuJON1AivUhcwubkQIOYTa/L8dPb9AdTjagpATM8bc1lRDhQwbQVYYOa9h6XK0CfVrFYAK7Xalgm4kUZxyugWe20MOpIUJTmjzLdXioBX+/pk2q5xMARI4HIT/pnzmzgsAIVRV/1lP+m0wMY6MDoWB44pktFPk2bo1Cq2/uzdO5h94StfjK81psLN8kNjvKIe8DLH23WjD0cTUAKkW+IbIuucbuSTaF/Holt+SgLKB4+TVOfhKiz517dxSc+nT4IZog/Luuce40bKtAXPcH+cIJvkxi4cd0EBerMBp35RQpFO97am9pVaYg+802SzSWdFJ5B9EJTRht8phl7AKhEZhVZlIOfzNXFcvOPFU6r2/DwH2ETCu8HNnjg9b/sihlGJ1gy2UnIDvEbzHRNNLSyvj5zMH2ILu5JWqVrwm/BzOviBKegLDNRti5snkOm0r9XCyqK0Jcn8UhJG/4E6Vb1hvbGAVQv0U4Qdu6WOvtXmjwY4t3bHpjRDUCdMq2qBJNnCsN4V0Yjx8plsJ0Qoax25v3LbdVU+mVlnmVnIaF5zpxNOsF6pYJg7kZA4CvPTxMsOFK1DQHQy5xZYiufH9DGQ42Qk4WYGUt+cluG7gGZFt9CQvMemi/8HlIaOEokDfUSAa2e2g8Vmd/kOQR+GbXPUwCLwN/S7fYB9P3mHB/qFrdyEiIMJzw3x9IDBjD21pswXzQ6r0TN9wZOuIwwQXtKACru3Jv2wchsmmafxbWNh8isjErkQGB2qGaYNxTqlaIshJc6rv4PVP/cn00fbUW8xaDWVHbaA/IzlX8GwJIkvtrHd8IJOHSYs5B22ScudearceqPJcbzk8eafvmyeLc1DJ0RFUEu8Ht/4pXbRmqMpekmP+gTRweZKHn8TauwFzu4r7zzWWcABdQmeqabkNz71nbw+0cww1k6VoZAfIh/cWzVaL2QrzpnmAlWdL0A8dNZLwf6Jug5r1dzFd/OAEhCVWEdS2fyabS/JQYa0lSfoBoehy0l8pOZ19OTGRKvBz0v82c3xsoxwLlLJqdAy4eM2WlmfC6quN6QkNctEDcrXuv4q3wnjz/WHfId2pFEuVBhV4M6lzbU23Mn23KjxKj2yQQHOogX1YVpzApleUL0BpWQbJbH2p8DCQ09yQ+/cn7voJWLi7t+AxR5RtVT4gZev4uyrDaN2FUm+ESwMm3S4oiqpO6q6Jamex7TeINpHSHuRMhTQiIlsvSrbL3BuXRVrgoBtrObnIVNJSaXGf7oJQENT2PZLLCfHswwLjFZUzkSRKTNmA68fHpeeTT+QjgxAdTXmVvW+f6SYuiEezEuq60yjmfCliC4NKDswJ7xqFxWuZ6Hl4C6WMxZ5KNYGhmmvwsppj0pqfCVhyeWkoG0eVvA9TGFUMAITiE6eaVEymI3ARXYESd9Z8yPzNxQiie1X8P9F1s9jGK1VfVOJETrJC54ozVM5jTjtPB1ZnmJ5f79Z2EUaIMRAk1yOOgC4gmx8E04YU1rAb7mU5lJLdObe1Q/AUjecwXipcwTSB1plA9hkjNQqcvTP51iWORVtm0gDjuPhzF10XE0hfyfkLNOmeyw/v4GHYh+jz5jCOP5/5uqtW/c8le7PJ7zsG6NoXfAMX6sLI5DVFHY5phyueCnRQqW7utVB9qrRbJsaHyPi5qogsTQRr5fYh4nfa/TcALvQi+HUfPgp0AgwLmmXRlo7REIvCFTNaHwSfS5yRIr86z5ebU+gsJHfGsnRJ8vJN49Gt88UcBmJo/1ip+HP12DLOQyMW11IdaMnlDhD8r9ZyR6Yag0GUXzfcxDmhdSneEGx8weSYt9+Kv3n9uQ1GttpyNFEAEZPtutCqsATLG6c+RtVIiYYxlbkV7vQBXGKfX6tignKtOMdPLLXfU9cPMWIdkyl9wL0CJyW+0EdZZP+QRWQ3SNzIngKwEM/N8IKt0/46S/9i3NKGRTx0er3HGHZyUJxD8rV6ot82bvlMNiUODcAtcAoE+oOQfIksoXVhMNr8GG9IdPTjCdwl1JzzkaX4XY9pKLKjCWwA3aERPzxXCVePNV05bRMrG6HyqLmWgGet7bn++0R98Yz5EE5WdGB22wK0gr51IF6d7EdJ58Qgz6foqCxduUzA+VT2gLwiNbhb6kXeo7tthaWag6PGzP98BHeY9jUSXm1XfcFA37Nt0ofdt1yYtT9gk/XYcwWxHGJZMPb5AB/OcXPPTFTBfUTaILOlW6d1sbufcNLJfKpGP1k2fMAtTK90YlrIs4Igu5VIEo6Jx3hbl5HwX0qZguvZ2WvJznWNmh/iYf2YbtQdzGeHuj77Mb5v4OhQ6RrnqBpXLywv5GaviSmP8c28E0PXMRfh3axbWVXVZ60ApPMArqAphFmOobMTOfiY6HrT9pd0CwTtNG+MUxGeqnLmtH01Pr0tyPYhgE9Opg4vgzmnnJ4pVXBKYGLc6IclzYYVV7ECvlqeYPxDUS2ev8kxQETPP5UudlrdWYXgqVi7RlOTChoipgw6rhdBvFxcSARIkdLGZ6rG9GbNEvyfYOH+PdLjEwlK/ajwhrt3Vnf00biueKUKSd1S1HsfG45U/Ab+KS1ISptKfqLzutmaW+h3jiyl1IVXOeVn7fybBJOJHvlpBeVcPhxDRAyIDHfA3IwZaFrjd5L7+b4rEv69ujOG6KyTCinnxC2oW7cgzqpVTC8Z6vmUbZOk6yF9YypkxSb+mKWTC8eJkf6452IBR2O6reMTOJaoD5EMYhDQACyUM8LWfGyLIIOvhdO9di7jrjwgjNdQY1cBe1DkGgN0iHaD2RG9xBOyc9ya23SBwfhcNYYLoBW+Ntz2nmJYsi+Kbk6zfVv+8kqU6Gc8vZGjrL6mz7lKaRFto0OweC94mrMCTy46f1bmiAA7P6k+c1sSZCLBNu/hi/GZ86qZmeU58vZQQtOKeNnktuDTYR+YeAmnhsWu4RUOK2xDZwcyMRnw7xgpUiAyJ69b5I46LvmzsiVGZf3UaF1KNFKT7Skw1C+qeEfuqF5KERgD70hKQw8kYdI2qVr6xECoBeZH5Km5aUijMYcFINPWLbkyqKh7OZ+Znbyy96JOU3UoHkL8I1mjQkImPQkmUEbN4LNdHE9W/EZfoe1BkJxo7OhLEZ5cF1qNDhOkqaqb7Q44rZzTqSyhI9fsfmcpzmRRo70zSFlvoLuv7QXPXMxlPFYzjE5DV/sR+Mm3B3tji3F3FAUpnoyAmAwySlmRue4Yi0Np0gyUA+U9AfmcM6HTTs6fBluqUnQm0IYUkafA3r7Vl2umZ6H7Mi5J5kPCIB4cSdIa6ImkAZhXgRfBfBOcNpQ4YiTmnUugD9UgDv/cYwq7T5n3qzVWs1hvkPomZX+fwN++AgVhnzXVjLbO0MDiD/rWvCcD+kjsrVZYT4UUPjTvESpdkhSLjpFl1C/euWXaH5hGAJajnLzyDp5hkYRM9oMPYHEhzhBka5zOuuTEGiWWtJ/NW+F7tRqJFTGARGnk4xhkZ11jIOMLS1FQe97q4qxaipmz8G59NF7Zd9K9v6VCZ3g11mLPgXEtO3zOxaZunYLZ83SPZun6lr24P/3OqJ5gQ5OwG6GGXjd+fu2CHyZ181r+Qa2lYYcmOSD5iODRPpKUV/QEtxz/MeSvlq0uS4oQHdD1Uw6+jDM3zWfhmZ2YyUtQkdgD/bC6kZq91GlRra7gvzBvcPeb12kd3b9Or6G+cUq3ELNMX95LMauStuikAmM3QCoMxJzEXMhZMRuVn+8swuaWx+xjpH/vT4m94qtpx7EZi4fMwANLiN/vscDMx6X69eqiw/CyIXb4MeY8PUI1cBmrZE9C0HyM7JcH+K9k2yHLv54+doUk5wy/u39I0hzCxfGiNbtTMUU9DY/XV7eGeVr8ZQBLrKWsIuIA59Mo8TVAtjL+z6RzMUJLzEgH9rSj/dQrM4kNBI+1XQ5NPpaxaY1wo9Z1y/OJgCuRrRS2LNTG0HaHyRuZ5l+UX70tohhxoqTN1y1rQ/kUNKCJs9N17h0eLMPLEMoeSBxRAXzL0zEN5u6kgbKPcIp1eBraUbFb/S82kDbXmeO/ihBtona1QCETyV+vrxwxQRMgCAgvahxN55bD6NIPY3s3ZN/IEB1vm3guC8186lJIdvKnBQZOstPDER5emzYTp8d98k8rqn/z7NUY6QGRY0WzkY4mErPWLVYRiHdc7OknEqxOFIFVTQAq3/37fsju6PnTzFYCHiQF8BoX86UEUexaACnFMbixsL1e1N8RHdkvC7JK6H6dGfJpUmM7eAjXBcjHMUDEuiToquB1CWSZhTlE/1mGtTG5gH5t1B6rHT0DnqLTarbrmukUmc0FrkcmqigMQphVSohdz5GSSLb8LDCtmvjlp3351dKxeRgqVbkMGXqNbDTj1aflbRQ/a0pB9dKB4TemXKHFONDll+MOimfFH5CTQcQr/cxv1EgYEJMidX3/jph2LhVvOo82nrfJ02nkwUZFhBx40xUtLuxTE7Gu01gQ0nHhJwy8ZgGeZFYc122+RlSDMiKbwARVg1t4pqEZmiRtSJHmqDRCLr8tBA4VfI6LSoyTp6RxsNAPuiE8JfTB578mMtxchwre63UL01Kk0X1O9g2Pq1S6JyPfYOQfHi/aBewU8U6OlPWntDVsv2YJraAIj6nZ5JILIajSLRkmiglzDlN07kcqu050Ry/bLZyKw23d9FsjYuS79kjp/u+lShAg5DQ4aETiujC3FsDfUaL9JHi2+5vYSF7aqi0em7z13tV60BEHOqEfc8DXhRXJh6omDsGN0vXiw3ELqNeiNE4lJg9mDs9wbt8LW862YJecVPZoL1wlHBFBBHOmqjtuRLD0E/kdC4gpI/FPkTTj8bEQeM8hlIFRcI0ZyUJj9eBnDbORyPJ95gvAYVnvIYV1uI2+0eSXABdCGcqznsnBf0mRd7je0iiK7RR5C3XBOfI2ntfm+OjjYaAa3A4TgrERd2kDPqNKihfFI1cwbBw9DRJPJLuzcDDf4kgh2yiKBQSJ8i7lxxaZ+E1d6aqbjf9/zX72RJQeFBDIKKVlarjHWfMgKdlLx9jRw8QYBvw9FJy/4uVwtOfWqOuGVn4yKj1mPf322TcxdHVBgTKK2VCILjfqKqGSBagH4gPy/LsBkvOEOhdy8gHxwD62AJ2+fNXNUqolbF4ADmXQgCAowpDMOEpUL6af64OAN+0/wisBKBdtT4tpeJ4n9ue+MHlx2anKwFL1a5oswp6fZBc+/OfcPnX0tX2aMg2w4LwN+3lbF4wqOgypzBUJIbDQAQ3CjRjjF4kgOE2q3XfoVLL75RZZQjQWENxNW3TU7MPpPAU/CbyiVOlDHQEzgKbfLAxFRd21eIkY2wJBfUR/jI2SwZSK/yHzytxbDxgWIpgJs1h0H8BqinEj9DlJBpR8gQKxyXS3NoUppbA/I3SbsHKyImcjz+Ey7ndHFK7ynHmF0BnvwwcFVc+W5ZOQDU03c+uKeeU9yzvkX+xJ6kG16cCKx8ITith8cqfLEpWzO2A+MSmPfUNquWqDCm/Tngp8PhZLHblZUTCcNfSgI893FSH9Kh/5ElbT6VwAhKNgjSloWlJKO7D9q9xPzsqcR6MLaHE7AHGD2dayURc83fco8wSGHw0A6OqA9buF7WHUMB2DP6YP9TnxV7jCL6+75sT4cv9jNvHrdCOkVyIQxCoHxYfyqt3eKo0EyFVIKCB5FM2CCc1xlHj+W0S2e7ZPg+9aVG8JxPjpfgDVq+slfwRbisSyALnrcX01x2vCDcT+WqhqF+xTyn7uQ6EPCWISkpYGExVnWBkok3HP6dMQpIq13warhWB9WDUmxKsOiYDryMLGvX9oOkTIZ7uhRrVBhSfYF2DRfc99VyWQxs0vazANGn37w6E3ld06TteEkee3+LZO2tYNj22N3X5s+7XcZdQKdcf++IZO08rE+CMxGLMvCr/jtHmxTmYUFYeNg418yXokf5fDK2WWI4koAgKOljoRs/777oZK7l0P9ethTLyIdwTkZzy6k7nj1QT+I01+hecvBa2QJa63seMmWjkJCRrJDhWCTXbP9IwauiVCfVJHIPDnlXtexMbmPg1rEuR+PUMOeLY5MIsplEm6N8gVVzvALi3s2vSpUSsxqyWGHTVk1eb79cm/pv0KIkpvs5A9Xm+JFaxLovqfFCBd28bPj7stqE78XTElL4guWrWwOnqzpuquZq9mUf4aqNVBuPbgnv7RiSPHA9Z7z4sDV0bnWy1AXaoZ8MV3lBibqghObkHEH3xodevWSY53mcZsPPmmeijf0hTUmRleWQQkIiyPlRGOellTM02Dcfcpl6eovXnIFNQbraWPVv+2khnUgNWmemJmNhGMkFKNfhqgoxuUuT8EYPWieSx5EaReu/vZmwE3b8knjxVKUFmeFxuRUpsV44XFq9rK94UpUUscFYBByTXR3t1dB+AWJIJcQOjAn8Cnz1aJgKgDJTvJ6OxOOYY+IBPU1uQO4dVK8+L5qOjHgODL+jOv7v2hdj+JJoYJ1y3LnPe7NTR3sLypkcHNGsWXgG9MevhOtCb64SPK1Pkr8eyccy8nLbIankqQesYlLIoTrpdsFN1Bv7O6i/u7V6FBg0aJb8X10bo8Rvw30mtUmE3pLsWz8SXp9ztlLiv4UYA6utB0QON6BfoDw6CEzcUQgTVkNOQqMC6mJuyMBPuz4go8Te0R7b93uK+2e9KJYyHhkuObp6Bktj3UwwSNlSE69vYQXekTuy0EwbQIgGuO1k3kfW+scXLLDmHlDly1VvSbsWuwUY0VpUoUitQF8ow1jMKfBSV1qbSCJ+Rk2Ezsn7ObtpCwN4YoNp8UkPdavfsQW8wsaH0YIMSEEfP0YpuT5QvLQAZXCMmnAieSt1G+DB/4l4o+bARZeWKu8MJevi3idAiRZp0dc0dSi5N08VKRFZoXnbhCif3p/nrBPbpBN4bCo6Hu+e+/J71VgBRKy31D8xNoyEyg3XemG8/WUt6nGYLmsd25ZsFbD2PJ8v1iownUkMwqcUzykHfaP3HW3WhPEDiK/BoLgdN+tlZBBSXT06T6sqsg34Y9fxNMNlzXMhmZUuUZzcqNsigkOuqnchUZMJu1pbRo7RBwBLtexfLEP/JDWQHYN7+MZr8u/L+Ovt//Q0Vlg+0DRX9NCI6LbUcr0CVz/0wHSIhzO1ARcUQQUO/m/UnqW8V4DfwNy9o4493hX+auphzR7uFwYmqF3CzpBxCIZgpafmYEgUS9eabhYAhQkzKpJTI3/ZtrLxQ9RfAb2QmjHbvCx3TUdJoJi2BLZiKyf211siqDylrSylWGl8g+31xoesRRrCpMsMM7hUMMA/MmSZ+kpuTd57hIMSk+U4AJDw3vXrbPqdqcvd+WQyc9WkaW1GPBD6dS6y8VmMqiYEUWkYTEN0SL08Cr9INtMVZZthzSDK9cZokoFEtp8y5PBq7BZGT2LXYOC/SHBcYHD9HXUDJ+mhvbrHaKJIiqgQbQOEOFZyqHW/qNKQx/zcyjmdFJ0tYjXdFRZw/n/C6Z9noiTEnCGIF4+DMH6T3mJvDxubvG1XsZWhuF8lf65Cw3O78ejrEjT0qsV25hMWfulffxtlNp4bronFXPcmoIWRoWuVV/ernxnmWnBf5x9Zbc28gJwX6FktD4S4RO5ZQyYaJ0VOdWfVz2/9ZmHjuQT+KY8Y66dUMW6k8eyBSpIXgFQeP0+tsKnOAPBBcLx/9hIM0gl0roldVMxaE3zHMMNjDlU24NAst4J2EaFN8LoFk+HfzWkrjzP/ITw64eb1cBVTT0/BWLfZItZXk2PgV7CBveqB/Efyv5J8p/cgQUrsmu6Sp6tidp+mC505Ai+peInAcpOnGYnYgh8nJFrykzRX1SZ8AJsDWvg6M5E3tKZ6Xg6KebOfBGazSmgdgOua3R2qCt46368GwsL5JkavkBdPoSJwGyXxijx7O2O/fBGV/MLsjWnsdo/XJqOzm2O2vjZHCQJgDZkXjBpbGt+PU+K1XKEPigT2S6RMBu0zW1aq8PcRa5UpXl1yrQ4Ms6ELkEGOEWBKScQZUsU2I0sVm7Ykp0S+22zRun0Bzz8sMkAwexxcWBg6oCk7I97Z47VwqStkpyge5ruBp74er6ZmEH3HCNqxBBBQD4ze3ozFX9eD7ZyD+TW3wWuZ2KZMUjH5CNctyYXd48l8k6dPCw2cPUxqmZbXzWGkgfR2eH5A7beGZjHHkBIJxeFbCLt3LWkE84/knCs/CP77pdv4hEc428UeBKZoGpj0pm5tZa/LoGJlx4KSCQZxvzgikwzkbmQ8Xm6XKUTskPA19CB7MBxGW3wMZ/FZFqm4YtsFEPX4zvWdd3qI+pE73/e86Ma6maDdB4bENQ3gSrxvfGMtoI8OyU8N48alLJSZ8XhzTBf0+v3N2VfsDWcQ5mqOMFsT7gAww78BJ6I0x4vOowrBXXyyeM/iEgTukkYcnlqP5Y2CWyzLkdgVRcrpawyrxxgMTbUkKf97xf8/0y7eyv2bsyuhU1MUv7yx4DTHLvfL7Yw78xP5FZl5s5xDOsQ2ODUqRlvh1TuOYbuqMAyClpeJtSszCZw+u1rsBIMfjB4wO23Yg462NTySyfpsU+jsknXl1n4DTZtV3257f9a2UuWhLJAoOYKLYRQ2fZtaaZGUEhknatgxVpGwyplPZKcF0kl1ZV6URT+MzFLr/LYQUevHP4O/45hkjLKuFo6/LKsucxppe+TLO27JZr9JR0pEhUCNDqrscfIo9pZ0A+TQh94A9Q4shmyLWBAsjb50nlvJOkXZEOf5YjzYZA4XDIXl6PHofnoDZwNc5/uZr1e65AVyA8PHghEqZYfzlb+CagamN9FVoCyu4x1OEzSjpWWEsa72SxNZUQPIDBEPazVNPKUoOIEJZslpSSRtyRv9FsIJ9CJILvftWD8jldVp0D+TZib+S/pp+OJpFlp6gPiANiDDpdPv4vY5ZLp4wWNEPUN1zxYzVii/gcBVHAHAeovGmClHmxVqJDq4uXzotvob8qd8EXGZgRZB7WdcvegQDgjLM3SQiDKoqWZdmin2hOPZKLLN997XS53XD2QLTrOjn7oWjXnF/TuRsNpqYlt6gfJ8jV0EQibhrF+75ul6fara6qtt49c8QLKHm+8vkFZloCX7RPdhBXdIukDyN/VMaM/z1KXFrGbIJxLnEJx/9q5YRiPc3KPsAkSzX+EAWRCZkuUXzhYNFYM/B3TX/ylJBqmoVTH2Mhzziwj3wUAU1PG3hc7UxvPzPkJ8iB0RWwHxVOUyN2+wCeOb2vYnQugQsTAg75Npaxyg1DQNPIcJtSPaNzJ+m4I02+R9ogKxS3AKXYY6gATuCTD5dn9iUlcsmlz5NaNfstJ4Mv5ha76MkeIyaET7bTl21l8BO+GElrvd3uJo8fKOCpyMH9CSsBoVtVTxyo9Ep0HNK1YYXIAhB8mgTMsVLWLihRNVWKMN7u5YZDoj5B00elq5v9G11SwjLSCNYMD1lfebapZ8RX7t2/34qw+4iqt1V5I8ms0svmvYCZ+l91tfU7IIggVZ41ivIlGMRkMFl4moWAuSwccV6au7y/68Us2asfsSvMkZ38/HbpxX6PcOYnIIZO1JaZ4QvVZnb5zZY3VCMFNAjr52nb18LZ6imUJPrbv+TjV+mnqYtNdU+WEt/os+SIV5KX3yKzDXYwcWeIFNdQojBnKGNQgCmeSQyJXToV27TrrgbhFNehsM+T6QLJ75vLjhuV24+Kh1oD/qdIHBvnSyi6iMyacaJjIXXMjS8hNK0Q1ooosFRX+xTMOtEOETLi373GL6Cq5b4/TuL7PziviwglcMsQN9jFaMFl2mOGhcbCTe1+zKpoZbpRQW0/1cF2KWqVbQgOE/zljJZSNOLRkHV7eU73NHMeb3pvccOmx+Vw1fzoITw2m4mCwxUnHS/VIURmVoQOpwezQjqr6NsYaN/Q69qunnvBL/gspsIB5zMnnZwu4F3xE58sfMj0JXkaGeqCSA51WB1D4xNQUR1SVO33//ofrsMz/hUztz9h72T7XeUN8IIi1VNcBu7SZX/BQsb+z6dmSvTd7NhqiekmQJhg8hnsyMj2BUnwGvVZrgESRkG2xTCSFWHK0ZsYnTeUxcAI7UiqY0gEQ5QpPtGWVL8DN4DaPkJ9KnhU6uMAgIO7LtAoK+LndGhi5Lw3OudMkEj9Kljgu0PyA435ESTtTvpeDdfAm/5c/y+iunt0so2DABW/0HeKVMqU2g6X5aIDuELCIhikZ3OQCtETvj+88nYwF/aM27PjDz+aSpLTKqVsh994OgDTxiw4mj07qX5BUpuCljr98O7O+jhdJ0/Hxje5q6N/Y4krrQANrMzl1LBj16t1AjxjTTID56yZZSyabUD/qFRgrClwMMtD+THr59q+od5IMBjQ5vu6VIcFCeI/P8ybPUmMOX1jcuQHfCSGg4Z2QBPv6KzDg1EBlEB4i7PJoIiNKU0L1te2dBD41icR9a0id+OcMyIj6w4uJaTeXvjt6BUlrZp3qCnb7Dahx1pYZVbfK5SX4JRByzNFkZbVOVqnRTCaXoEoHBH0boh+aZAv3RxaRlLHNifP15PR9BsqUNLDkb13W0fMxu0y9FZEXhJHvdRvATOu9v7ixNu/6JminM0lJDp7lswARldkJaBebliz0J8mUnOcRIqs1rgBTAGJifyJm9T+yFk+ONq43vbVRm/D7EP2jSLDfOA2kMyJpgrQkKTCjWvwGm5XS+Upz0G6bF7D455FZREB67hpX8VSwnOMZSM5sN48B3EbGN+5YKJfYnuZoiZQ3sosK9ac1I9Dti/g46QNmpNo/86Te9b3kXgWbjeq1s5X7iwYBZe0s3J/5S/UGCQS0h2bR9zVZV/EQ+173r0zirn74gq3mlo6VO1hndPL283xzSIbGrBh/EB3Dj3ZsMGdKJ0OddK29DzrEwB79qXvSydyrVdRxbldLCA8UvwJZc+yUP7bbLaGUHlY6BCnBBoTJpvJHEFjyg+vowIQE+PPxG2ZOSHzD5r9Zjx8ITpKKilHEBgz+xT7VWhyMsKkYlVKluGgPusRA24l0nNHMrnEQEa6gn+ntnFUWuP4xUOTMX8dURSSRODjOqOxiwCVaA8Mdo/mKxO/PYV6ThUEOBUILcTs2Tl7nDDXuEcavC8bAs/SKbEofjOUF7K5CufwEHGEVFtUq9+zKoZ+YY66ViTmH5qwwrubkywrl+QTPJuy8COKklUD0opHEwzSmIFBQ2djHF9+5c4+gWcR2NujKfBPM52dCO88KkBrxKJySjjB640MFXM36PYvrHzAn8gUa+uINAgmixAaKq1Pt08diQNaT67K+3X9+/0AzgthbU5VCm2WwiQkbB7vk6XwFMq3yLLheon96RKvOOdMusROulrlOmSJnyVpI1CaSD40yZzo8UIVoXWf/hUzWZwA9UhIPzKDw/Tt01luFxU572uFJ+6vJWUuav8vA/dvtB3bwtUlchM8JHITp+gluwajxWg+CZLuTdTRaS/wyqkUdqjFGzGixt8LcKwpJAGtVVJ4zKP/+U38+OC/nr9dvMZRAAmBRw7WVv62qH1l9D5fuv716NNTfKrXVXQeI/zm/+1Ip6lPSzuS3+6XyQOxnl4M4+8bv+4elkDQlBVbHgNykOm+zoucV5WwdofejVNzo/P238zE3StU38VcOFsxxR71YuoDKjV0Kc6oEvP1rrwxuazhEs6X+gH5Q4a3paQ5n6QasLKSdVZvXZlT8lkhlGja5N/NUWrJ/NzAYYWuNXKSG05pVnWV8OBTX0EINRhVFVX3YyQ88dSBGuyQZ2WuRx2S7pvIPWvmCStF8auSHT6dXk1awKwYudSZmTQc0vZ+A8F1gSmMQCqZsqsFXOOPEH2sz0341zUEDVB5fzeC0VVJftAzQ8aXNJOIO+ltLoxsYqZMpQxj+As4k1LP5Ki9s74iom1704KNyFX/Hqt5Z7osYHxVD9tomjmnzRXMljH3wGfIVrNTXNZF+V/j9AjPboop24b8DGGcm/uvgbEJKWNQMfR0djaxLiPWn832uiqX0DgxnlWLRY6YfgoEBPro+iLvY0cpRIcevpW/I8xTn2xWZTcWquMd4x+UoppMvnfVrFs1ZguluihAcnu3/U17reWwcY7gk8Sn57Tbpd4JFkjmQWoQjYV4qy5PBNF9NSaYfxTXd9+VHNShzeST6hbYU+nLOIbmMIGiHYAi7gYuV+QDWD0lJ1SV0yTTpNNtx9hBo7gM+JhzFEUi3c1XS+dH6wT/SbVwS7Z25MtQbhE6QSR7GAqLAaN2Anr0mbK4JiUkVoMjtyQkIMUeB7DLce5OY+Ct+CktgzKHAjCQt8aT7M2LhxjjuZ6gaOu0augOsto0pxSK04pJ4X2J3xTOnw7+3IQHEcEJmTCuekt+NkUDeepQ0LMrEJRnWLi7LA8WdPrf7RN84jM0uk9fKnAI/T6DAheVUB+lsZ3cGVSZTp38kL9k/RokmPPHIaW9fgHPqxMD8Bitdshg2zTk/EjPOpHEi09mcC2WQ26syrFeeSFaaAypBVoxOJMLczfD6NH4pRE3AzF2+4ZrkDlYdQeVrzrnfmNENEdXyPdWeeM2OCXoC6Bqa/SN4Fs/19uhk1elJLUuNmQuy1p1JeSQjVrV/5EvVidxNeICv+AnshUkF/gqUduTyt+Pm8a+XZnYsx8JubARVVeOPjcH7cnOBnMoFCQiJKtc+VQmtTe/bAqXu2sxBhNkELlJo9KIIhi/qovN22f9pHbXDCE7bDg4sJFsjyx6fhktVHvnVtdBLetsKyif5zJy5drLGv4ruMdvqbOUUYMuV9HBx3OsbKmAqwTZzshZ0GfGyt4w3KBmfFd/rNxz7ccKSV/ZKg19d+La9a8qPIr21RqJDkWSQlZEx6dhePAaGOa3In8dAfydr0Zwev6/2+H6667nM1EfmmQL+y9mDkiCmkP4R6BLYEnGV2ktQYyroJTkd6m1K3CG79xXmBr5uHTrcQ7iGZbDSKJjNp8Z5uoLeRHu2qlRlPmcVAFo6UUlPXnbYCcXgqHbVoQZGmKSP+s3iyzQQEqlnaRZb3y0DGuIjRa+sGYT1PUp8I9kfx9ic9p2UEtytDDU9NByosDubEaH+Kt/wgL25u3YNheiNkMD0VqDwdE6BeCfaPoPBE92RRh7CkHLHATIeaCPMGOfgC0BMlG1WAQ/v3253BFAJ3o9VFypSFsV2LIjN1+Ex7tiFw2aJE+dga9mDCVY5bsCDrPHb+ElyrlX10Y1r7VcUOPMtl/8gDLEd2o6Og+mI1WgJuIDnhc=">
            <a:extLst>
              <a:ext uri="{FF2B5EF4-FFF2-40B4-BE49-F238E27FC236}">
                <a16:creationId xmlns:a16="http://schemas.microsoft.com/office/drawing/2014/main" id="{DDA18443-674A-4C31-9C2A-38350319321C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488394" y="2304749"/>
            <a:ext cx="4464513" cy="3637035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BB65D95-606B-4DBB-8A20-3623DDA96DCC}"/>
              </a:ext>
            </a:extLst>
          </p:cNvPr>
          <p:cNvSpPr/>
          <p:nvPr/>
        </p:nvSpPr>
        <p:spPr bwMode="gray">
          <a:xfrm>
            <a:off x="330198" y="1791138"/>
            <a:ext cx="4887526" cy="2200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chemeClr val="bg2"/>
                </a:solidFill>
              </a:rPr>
              <a:t>Percentage of reviews mentioning criteria (N=3.1K)</a:t>
            </a:r>
          </a:p>
        </p:txBody>
      </p:sp>
      <p:grpSp>
        <p:nvGrpSpPr>
          <p:cNvPr id="77" name="btfpColumnHeaderBox981258">
            <a:extLst>
              <a:ext uri="{FF2B5EF4-FFF2-40B4-BE49-F238E27FC236}">
                <a16:creationId xmlns:a16="http://schemas.microsoft.com/office/drawing/2014/main" id="{A02F884B-800C-4579-A45B-F2C6BB1E3FD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714915" y="1453952"/>
            <a:ext cx="6136725" cy="257441"/>
            <a:chOff x="330200" y="862118"/>
            <a:chExt cx="3483504" cy="257441"/>
          </a:xfrm>
        </p:grpSpPr>
        <p:sp>
          <p:nvSpPr>
            <p:cNvPr id="78" name="btfpColumnHeaderBoxText981258">
              <a:extLst>
                <a:ext uri="{FF2B5EF4-FFF2-40B4-BE49-F238E27FC236}">
                  <a16:creationId xmlns:a16="http://schemas.microsoft.com/office/drawing/2014/main" id="{36876A26-6D7A-4B87-9BDF-72744EB7AC94}"/>
                </a:ext>
              </a:extLst>
            </p:cNvPr>
            <p:cNvSpPr txBox="1"/>
            <p:nvPr/>
          </p:nvSpPr>
          <p:spPr bwMode="gray">
            <a:xfrm>
              <a:off x="330200" y="862118"/>
              <a:ext cx="3483504" cy="2549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phere net positive on 5/7 of the themes; negatively rated on reliability and pricing</a:t>
              </a:r>
            </a:p>
          </p:txBody>
        </p:sp>
        <p:cxnSp>
          <p:nvCxnSpPr>
            <p:cNvPr id="79" name="btfpColumnHeaderBoxLine981258">
              <a:extLst>
                <a:ext uri="{FF2B5EF4-FFF2-40B4-BE49-F238E27FC236}">
                  <a16:creationId xmlns:a16="http://schemas.microsoft.com/office/drawing/2014/main" id="{8567968D-2833-4095-A9AF-F30DF498BC5A}"/>
                </a:ext>
              </a:extLst>
            </p:cNvPr>
            <p:cNvCxnSpPr/>
            <p:nvPr/>
          </p:nvCxnSpPr>
          <p:spPr bwMode="gray">
            <a:xfrm>
              <a:off x="330200" y="1119559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C5A26787-E4AC-40F3-A988-81AA7675117F}"/>
              </a:ext>
            </a:extLst>
          </p:cNvPr>
          <p:cNvSpPr/>
          <p:nvPr/>
        </p:nvSpPr>
        <p:spPr bwMode="gray">
          <a:xfrm>
            <a:off x="5714916" y="1791138"/>
            <a:ext cx="6136724" cy="2200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i="1">
                <a:solidFill>
                  <a:schemeClr val="bg2"/>
                </a:solidFill>
              </a:rPr>
              <a:t>Net </a:t>
            </a:r>
            <a:r>
              <a:rPr lang="fr-FR" sz="1000" i="1">
                <a:solidFill>
                  <a:schemeClr val="bg2"/>
                </a:solidFill>
              </a:rPr>
              <a:t>sentiment [positive mentions% - negative mentions%]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F4AB67D-D4ED-DCD9-E5A9-DE5EB360236B}"/>
              </a:ext>
            </a:extLst>
          </p:cNvPr>
          <p:cNvSpPr txBox="1"/>
          <p:nvPr/>
        </p:nvSpPr>
        <p:spPr bwMode="gray">
          <a:xfrm>
            <a:off x="11534159" y="2304380"/>
            <a:ext cx="365503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507867"/>
                </a:solidFill>
              </a:rPr>
              <a:t>100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AC9E044-9C4B-D334-F217-C51656AFA0FF}"/>
              </a:ext>
            </a:extLst>
          </p:cNvPr>
          <p:cNvSpPr txBox="1"/>
          <p:nvPr/>
        </p:nvSpPr>
        <p:spPr bwMode="gray">
          <a:xfrm>
            <a:off x="10882837" y="2304380"/>
            <a:ext cx="305566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507867"/>
                </a:solidFill>
              </a:rPr>
              <a:t>75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5638116-F1BD-81E3-06BC-EE8023EBFA00}"/>
              </a:ext>
            </a:extLst>
          </p:cNvPr>
          <p:cNvSpPr txBox="1"/>
          <p:nvPr/>
        </p:nvSpPr>
        <p:spPr bwMode="gray">
          <a:xfrm>
            <a:off x="8928874" y="2304380"/>
            <a:ext cx="305566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C6AA3D"/>
                </a:solidFill>
              </a:rPr>
              <a:t>0%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45BC442-2CE0-345B-C53E-E3D38ED90656}"/>
              </a:ext>
            </a:extLst>
          </p:cNvPr>
          <p:cNvSpPr txBox="1"/>
          <p:nvPr/>
        </p:nvSpPr>
        <p:spPr bwMode="gray">
          <a:xfrm>
            <a:off x="9580195" y="2304380"/>
            <a:ext cx="305566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507867"/>
                </a:solidFill>
              </a:rPr>
              <a:t>25%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36643F4-26A7-ACF7-58BF-C1C0CBBE6983}"/>
              </a:ext>
            </a:extLst>
          </p:cNvPr>
          <p:cNvSpPr txBox="1"/>
          <p:nvPr/>
        </p:nvSpPr>
        <p:spPr bwMode="gray">
          <a:xfrm>
            <a:off x="10231516" y="2304380"/>
            <a:ext cx="305566" cy="2158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507867"/>
                </a:solidFill>
              </a:rPr>
              <a:t>50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DD1D829-81DA-A0D5-F78F-1C9431A55DB0}"/>
              </a:ext>
            </a:extLst>
          </p:cNvPr>
          <p:cNvSpPr txBox="1"/>
          <p:nvPr/>
        </p:nvSpPr>
        <p:spPr bwMode="gray">
          <a:xfrm>
            <a:off x="189096" y="2246610"/>
            <a:ext cx="1413673" cy="226591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chemeClr val="tx1">
                    <a:lumMod val="50000"/>
                    <a:lumOff val="50000"/>
                  </a:schemeClr>
                </a:solidFill>
              </a:rPr>
              <a:t>Themes / drivers</a:t>
            </a:r>
          </a:p>
        </p:txBody>
      </p:sp>
      <p:grpSp>
        <p:nvGrpSpPr>
          <p:cNvPr id="113" name="btfpStatusSticker722829">
            <a:extLst>
              <a:ext uri="{FF2B5EF4-FFF2-40B4-BE49-F238E27FC236}">
                <a16:creationId xmlns:a16="http://schemas.microsoft.com/office/drawing/2014/main" id="{FD2EDA6B-10AE-42BA-8330-0D52E0AA4F3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111" name="btfpStatusStickerText722829">
              <a:extLst>
                <a:ext uri="{FF2B5EF4-FFF2-40B4-BE49-F238E27FC236}">
                  <a16:creationId xmlns:a16="http://schemas.microsoft.com/office/drawing/2014/main" id="{C4C71D27-05D5-0353-E3B6-287A91728BC9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12" name="btfpStatusStickerLine722829">
              <a:extLst>
                <a:ext uri="{FF2B5EF4-FFF2-40B4-BE49-F238E27FC236}">
                  <a16:creationId xmlns:a16="http://schemas.microsoft.com/office/drawing/2014/main" id="{21C1E516-FC38-5E11-44D1-E9B9AEDA578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18FC53-8EE9-29A6-8E14-DAA73C5A3B4B}"/>
              </a:ext>
            </a:extLst>
          </p:cNvPr>
          <p:cNvCxnSpPr>
            <a:cxnSpLocks/>
          </p:cNvCxnSpPr>
          <p:nvPr/>
        </p:nvCxnSpPr>
        <p:spPr bwMode="gray">
          <a:xfrm>
            <a:off x="5443984" y="2505910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btfpRunningAgenda2Level875286">
            <a:extLst>
              <a:ext uri="{FF2B5EF4-FFF2-40B4-BE49-F238E27FC236}">
                <a16:creationId xmlns:a16="http://schemas.microsoft.com/office/drawing/2014/main" id="{A58086D2-4CFC-E137-611E-D8D02B5EF39B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944429"/>
            <a:ext cx="5384737" cy="257442"/>
            <a:chOff x="0" y="876300"/>
            <a:chExt cx="5384737" cy="257442"/>
          </a:xfrm>
        </p:grpSpPr>
        <p:sp>
          <p:nvSpPr>
            <p:cNvPr id="26" name="btfpRunningAgenda2LevelBarLeft875286">
              <a:extLst>
                <a:ext uri="{FF2B5EF4-FFF2-40B4-BE49-F238E27FC236}">
                  <a16:creationId xmlns:a16="http://schemas.microsoft.com/office/drawing/2014/main" id="{A5B1DF40-B0DB-13D8-9316-68514CC7E633}"/>
                </a:ext>
              </a:extLst>
            </p:cNvPr>
            <p:cNvSpPr/>
            <p:nvPr/>
          </p:nvSpPr>
          <p:spPr bwMode="gray">
            <a:xfrm>
              <a:off x="0" y="876300"/>
              <a:ext cx="3650257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31702 w 1431702"/>
                <a:gd name="connsiteY0" fmla="*/ 0 h 257442"/>
                <a:gd name="connsiteX1" fmla="*/ 1224695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606878 w 1606878"/>
                <a:gd name="connsiteY0" fmla="*/ 0 h 257442"/>
                <a:gd name="connsiteX1" fmla="*/ 1376981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222432 w 2222432"/>
                <a:gd name="connsiteY0" fmla="*/ 0 h 257442"/>
                <a:gd name="connsiteX1" fmla="*/ 2066721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0 w 2222432"/>
                <a:gd name="connsiteY3" fmla="*/ 0 h 257442"/>
                <a:gd name="connsiteX0" fmla="*/ 2382732 w 2382732"/>
                <a:gd name="connsiteY0" fmla="*/ 0 h 257442"/>
                <a:gd name="connsiteX1" fmla="*/ 2167710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543032 w 2543032"/>
                <a:gd name="connsiteY0" fmla="*/ 0 h 257442"/>
                <a:gd name="connsiteX1" fmla="*/ 23280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711347 w 2711347"/>
                <a:gd name="connsiteY0" fmla="*/ 0 h 257442"/>
                <a:gd name="connsiteX1" fmla="*/ 2488311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863632 w 2863632"/>
                <a:gd name="connsiteY0" fmla="*/ 0 h 257442"/>
                <a:gd name="connsiteX1" fmla="*/ 2656626 w 2863632"/>
                <a:gd name="connsiteY1" fmla="*/ 257442 h 257442"/>
                <a:gd name="connsiteX2" fmla="*/ 0 w 2863632"/>
                <a:gd name="connsiteY2" fmla="*/ 257442 h 257442"/>
                <a:gd name="connsiteX3" fmla="*/ 0 w 2863632"/>
                <a:gd name="connsiteY3" fmla="*/ 0 h 257442"/>
                <a:gd name="connsiteX0" fmla="*/ 2863632 w 2863632"/>
                <a:gd name="connsiteY0" fmla="*/ 0 h 257442"/>
                <a:gd name="connsiteX1" fmla="*/ 2808910 w 2863632"/>
                <a:gd name="connsiteY1" fmla="*/ 257442 h 257442"/>
                <a:gd name="connsiteX2" fmla="*/ 0 w 2863632"/>
                <a:gd name="connsiteY2" fmla="*/ 257442 h 257442"/>
                <a:gd name="connsiteX3" fmla="*/ 0 w 2863632"/>
                <a:gd name="connsiteY3" fmla="*/ 0 h 257442"/>
                <a:gd name="connsiteX0" fmla="*/ 2863633 w 2863633"/>
                <a:gd name="connsiteY0" fmla="*/ 0 h 257442"/>
                <a:gd name="connsiteX1" fmla="*/ 2808911 w 2863633"/>
                <a:gd name="connsiteY1" fmla="*/ 257442 h 257442"/>
                <a:gd name="connsiteX2" fmla="*/ 0 w 2863633"/>
                <a:gd name="connsiteY2" fmla="*/ 257442 h 257442"/>
                <a:gd name="connsiteX3" fmla="*/ 1 w 2863633"/>
                <a:gd name="connsiteY3" fmla="*/ 0 h 257442"/>
                <a:gd name="connsiteX0" fmla="*/ 2863633 w 2863633"/>
                <a:gd name="connsiteY0" fmla="*/ 0 h 257442"/>
                <a:gd name="connsiteX1" fmla="*/ 2808911 w 2863633"/>
                <a:gd name="connsiteY1" fmla="*/ 257442 h 257442"/>
                <a:gd name="connsiteX2" fmla="*/ 0 w 2863633"/>
                <a:gd name="connsiteY2" fmla="*/ 257442 h 257442"/>
                <a:gd name="connsiteX3" fmla="*/ 1 w 2863633"/>
                <a:gd name="connsiteY3" fmla="*/ 0 h 257442"/>
                <a:gd name="connsiteX0" fmla="*/ 2964622 w 2964622"/>
                <a:gd name="connsiteY0" fmla="*/ 0 h 257442"/>
                <a:gd name="connsiteX1" fmla="*/ 2808911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0 w 2964622"/>
                <a:gd name="connsiteY3" fmla="*/ 0 h 257442"/>
                <a:gd name="connsiteX0" fmla="*/ 3150570 w 3150570"/>
                <a:gd name="connsiteY0" fmla="*/ 0 h 257442"/>
                <a:gd name="connsiteX1" fmla="*/ 2909900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310870 w 3310870"/>
                <a:gd name="connsiteY0" fmla="*/ 0 h 257442"/>
                <a:gd name="connsiteX1" fmla="*/ 30958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479186 w 3479186"/>
                <a:gd name="connsiteY0" fmla="*/ 0 h 257442"/>
                <a:gd name="connsiteX1" fmla="*/ 3256149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631470 w 3631470"/>
                <a:gd name="connsiteY0" fmla="*/ 0 h 257442"/>
                <a:gd name="connsiteX1" fmla="*/ 3424465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456294 w 3576749"/>
                <a:gd name="connsiteY0" fmla="*/ 0 h 257442"/>
                <a:gd name="connsiteX1" fmla="*/ 3576749 w 3576749"/>
                <a:gd name="connsiteY1" fmla="*/ 257442 h 257442"/>
                <a:gd name="connsiteX2" fmla="*/ 0 w 3576749"/>
                <a:gd name="connsiteY2" fmla="*/ 257442 h 257442"/>
                <a:gd name="connsiteX3" fmla="*/ 0 w 3576749"/>
                <a:gd name="connsiteY3" fmla="*/ 0 h 257442"/>
                <a:gd name="connsiteX0" fmla="*/ 3456294 w 3456294"/>
                <a:gd name="connsiteY0" fmla="*/ 0 h 257442"/>
                <a:gd name="connsiteX1" fmla="*/ 3401574 w 3456294"/>
                <a:gd name="connsiteY1" fmla="*/ 257442 h 257442"/>
                <a:gd name="connsiteX2" fmla="*/ 0 w 3456294"/>
                <a:gd name="connsiteY2" fmla="*/ 257442 h 257442"/>
                <a:gd name="connsiteX3" fmla="*/ 0 w 3456294"/>
                <a:gd name="connsiteY3" fmla="*/ 0 h 257442"/>
                <a:gd name="connsiteX0" fmla="*/ 3456294 w 3456294"/>
                <a:gd name="connsiteY0" fmla="*/ 0 h 257442"/>
                <a:gd name="connsiteX1" fmla="*/ 3401574 w 3456294"/>
                <a:gd name="connsiteY1" fmla="*/ 257442 h 257442"/>
                <a:gd name="connsiteX2" fmla="*/ 1 w 3456294"/>
                <a:gd name="connsiteY2" fmla="*/ 257442 h 257442"/>
                <a:gd name="connsiteX3" fmla="*/ 0 w 3456294"/>
                <a:gd name="connsiteY3" fmla="*/ 0 h 257442"/>
                <a:gd name="connsiteX0" fmla="*/ 3456293 w 3456293"/>
                <a:gd name="connsiteY0" fmla="*/ 0 h 257442"/>
                <a:gd name="connsiteX1" fmla="*/ 3401573 w 3456293"/>
                <a:gd name="connsiteY1" fmla="*/ 257442 h 257442"/>
                <a:gd name="connsiteX2" fmla="*/ 0 w 3456293"/>
                <a:gd name="connsiteY2" fmla="*/ 257442 h 257442"/>
                <a:gd name="connsiteX3" fmla="*/ 0 w 3456293"/>
                <a:gd name="connsiteY3" fmla="*/ 0 h 257442"/>
                <a:gd name="connsiteX0" fmla="*/ 3304009 w 3401573"/>
                <a:gd name="connsiteY0" fmla="*/ 0 h 257442"/>
                <a:gd name="connsiteX1" fmla="*/ 3401573 w 3401573"/>
                <a:gd name="connsiteY1" fmla="*/ 257442 h 257442"/>
                <a:gd name="connsiteX2" fmla="*/ 0 w 3401573"/>
                <a:gd name="connsiteY2" fmla="*/ 257442 h 257442"/>
                <a:gd name="connsiteX3" fmla="*/ 0 w 3401573"/>
                <a:gd name="connsiteY3" fmla="*/ 0 h 257442"/>
                <a:gd name="connsiteX0" fmla="*/ 3304009 w 3304009"/>
                <a:gd name="connsiteY0" fmla="*/ 0 h 257442"/>
                <a:gd name="connsiteX1" fmla="*/ 32492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304009 w 3304009"/>
                <a:gd name="connsiteY0" fmla="*/ 0 h 257442"/>
                <a:gd name="connsiteX1" fmla="*/ 32492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304009 w 3304009"/>
                <a:gd name="connsiteY0" fmla="*/ 0 h 257442"/>
                <a:gd name="connsiteX1" fmla="*/ 32492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143709 w 3249288"/>
                <a:gd name="connsiteY0" fmla="*/ 0 h 257442"/>
                <a:gd name="connsiteX1" fmla="*/ 3249288 w 3249288"/>
                <a:gd name="connsiteY1" fmla="*/ 257442 h 257442"/>
                <a:gd name="connsiteX2" fmla="*/ 0 w 3249288"/>
                <a:gd name="connsiteY2" fmla="*/ 257442 h 257442"/>
                <a:gd name="connsiteX3" fmla="*/ 0 w 3249288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0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1 w 3143709"/>
                <a:gd name="connsiteY2" fmla="*/ 257442 h 257442"/>
                <a:gd name="connsiteX3" fmla="*/ 0 w 3143709"/>
                <a:gd name="connsiteY3" fmla="*/ 0 h 257442"/>
                <a:gd name="connsiteX0" fmla="*/ 3143708 w 3143708"/>
                <a:gd name="connsiteY0" fmla="*/ 0 h 257442"/>
                <a:gd name="connsiteX1" fmla="*/ 3088987 w 3143708"/>
                <a:gd name="connsiteY1" fmla="*/ 257442 h 257442"/>
                <a:gd name="connsiteX2" fmla="*/ 0 w 3143708"/>
                <a:gd name="connsiteY2" fmla="*/ 257442 h 257442"/>
                <a:gd name="connsiteX3" fmla="*/ 0 w 3143708"/>
                <a:gd name="connsiteY3" fmla="*/ 0 h 257442"/>
                <a:gd name="connsiteX0" fmla="*/ 2975392 w 3088987"/>
                <a:gd name="connsiteY0" fmla="*/ 0 h 257442"/>
                <a:gd name="connsiteX1" fmla="*/ 3088987 w 3088987"/>
                <a:gd name="connsiteY1" fmla="*/ 257442 h 257442"/>
                <a:gd name="connsiteX2" fmla="*/ 0 w 3088987"/>
                <a:gd name="connsiteY2" fmla="*/ 257442 h 257442"/>
                <a:gd name="connsiteX3" fmla="*/ 0 w 3088987"/>
                <a:gd name="connsiteY3" fmla="*/ 0 h 257442"/>
                <a:gd name="connsiteX0" fmla="*/ 2975392 w 2975392"/>
                <a:gd name="connsiteY0" fmla="*/ 0 h 257442"/>
                <a:gd name="connsiteX1" fmla="*/ 2920672 w 2975392"/>
                <a:gd name="connsiteY1" fmla="*/ 257442 h 257442"/>
                <a:gd name="connsiteX2" fmla="*/ 0 w 2975392"/>
                <a:gd name="connsiteY2" fmla="*/ 257442 h 257442"/>
                <a:gd name="connsiteX3" fmla="*/ 0 w 2975392"/>
                <a:gd name="connsiteY3" fmla="*/ 0 h 257442"/>
                <a:gd name="connsiteX0" fmla="*/ 2975392 w 2975392"/>
                <a:gd name="connsiteY0" fmla="*/ 0 h 257442"/>
                <a:gd name="connsiteX1" fmla="*/ 2920672 w 2975392"/>
                <a:gd name="connsiteY1" fmla="*/ 257442 h 257442"/>
                <a:gd name="connsiteX2" fmla="*/ 0 w 2975392"/>
                <a:gd name="connsiteY2" fmla="*/ 257442 h 257442"/>
                <a:gd name="connsiteX3" fmla="*/ 0 w 2975392"/>
                <a:gd name="connsiteY3" fmla="*/ 0 h 257442"/>
                <a:gd name="connsiteX0" fmla="*/ 2975392 w 2975392"/>
                <a:gd name="connsiteY0" fmla="*/ 0 h 257442"/>
                <a:gd name="connsiteX1" fmla="*/ 2920672 w 2975392"/>
                <a:gd name="connsiteY1" fmla="*/ 257442 h 257442"/>
                <a:gd name="connsiteX2" fmla="*/ 0 w 2975392"/>
                <a:gd name="connsiteY2" fmla="*/ 257442 h 257442"/>
                <a:gd name="connsiteX3" fmla="*/ 0 w 2975392"/>
                <a:gd name="connsiteY3" fmla="*/ 0 h 257442"/>
                <a:gd name="connsiteX0" fmla="*/ 3153327 w 3153327"/>
                <a:gd name="connsiteY0" fmla="*/ 0 h 257442"/>
                <a:gd name="connsiteX1" fmla="*/ 2920672 w 3153327"/>
                <a:gd name="connsiteY1" fmla="*/ 257442 h 257442"/>
                <a:gd name="connsiteX2" fmla="*/ 0 w 3153327"/>
                <a:gd name="connsiteY2" fmla="*/ 257442 h 257442"/>
                <a:gd name="connsiteX3" fmla="*/ 0 w 3153327"/>
                <a:gd name="connsiteY3" fmla="*/ 0 h 257442"/>
                <a:gd name="connsiteX0" fmla="*/ 3153327 w 3153327"/>
                <a:gd name="connsiteY0" fmla="*/ 0 h 257442"/>
                <a:gd name="connsiteX1" fmla="*/ 3098606 w 3153327"/>
                <a:gd name="connsiteY1" fmla="*/ 257442 h 257442"/>
                <a:gd name="connsiteX2" fmla="*/ 0 w 3153327"/>
                <a:gd name="connsiteY2" fmla="*/ 257442 h 257442"/>
                <a:gd name="connsiteX3" fmla="*/ 0 w 3153327"/>
                <a:gd name="connsiteY3" fmla="*/ 0 h 257442"/>
                <a:gd name="connsiteX0" fmla="*/ 3153327 w 3153327"/>
                <a:gd name="connsiteY0" fmla="*/ 0 h 257442"/>
                <a:gd name="connsiteX1" fmla="*/ 3098606 w 3153327"/>
                <a:gd name="connsiteY1" fmla="*/ 257442 h 257442"/>
                <a:gd name="connsiteX2" fmla="*/ 0 w 3153327"/>
                <a:gd name="connsiteY2" fmla="*/ 257442 h 257442"/>
                <a:gd name="connsiteX3" fmla="*/ 0 w 3153327"/>
                <a:gd name="connsiteY3" fmla="*/ 0 h 257442"/>
                <a:gd name="connsiteX0" fmla="*/ 3153327 w 3153327"/>
                <a:gd name="connsiteY0" fmla="*/ 0 h 257442"/>
                <a:gd name="connsiteX1" fmla="*/ 3098606 w 3153327"/>
                <a:gd name="connsiteY1" fmla="*/ 257442 h 257442"/>
                <a:gd name="connsiteX2" fmla="*/ 0 w 3153327"/>
                <a:gd name="connsiteY2" fmla="*/ 257442 h 257442"/>
                <a:gd name="connsiteX3" fmla="*/ 0 w 3153327"/>
                <a:gd name="connsiteY3" fmla="*/ 0 h 257442"/>
                <a:gd name="connsiteX0" fmla="*/ 3321642 w 3321642"/>
                <a:gd name="connsiteY0" fmla="*/ 0 h 257442"/>
                <a:gd name="connsiteX1" fmla="*/ 3098606 w 3321642"/>
                <a:gd name="connsiteY1" fmla="*/ 257442 h 257442"/>
                <a:gd name="connsiteX2" fmla="*/ 0 w 3321642"/>
                <a:gd name="connsiteY2" fmla="*/ 257442 h 257442"/>
                <a:gd name="connsiteX3" fmla="*/ 0 w 3321642"/>
                <a:gd name="connsiteY3" fmla="*/ 0 h 257442"/>
                <a:gd name="connsiteX0" fmla="*/ 3321642 w 3321642"/>
                <a:gd name="connsiteY0" fmla="*/ 0 h 257442"/>
                <a:gd name="connsiteX1" fmla="*/ 3266920 w 3321642"/>
                <a:gd name="connsiteY1" fmla="*/ 257442 h 257442"/>
                <a:gd name="connsiteX2" fmla="*/ 0 w 3321642"/>
                <a:gd name="connsiteY2" fmla="*/ 257442 h 257442"/>
                <a:gd name="connsiteX3" fmla="*/ 0 w 3321642"/>
                <a:gd name="connsiteY3" fmla="*/ 0 h 257442"/>
                <a:gd name="connsiteX0" fmla="*/ 3321643 w 3321643"/>
                <a:gd name="connsiteY0" fmla="*/ 0 h 257442"/>
                <a:gd name="connsiteX1" fmla="*/ 3266921 w 3321643"/>
                <a:gd name="connsiteY1" fmla="*/ 257442 h 257442"/>
                <a:gd name="connsiteX2" fmla="*/ 0 w 3321643"/>
                <a:gd name="connsiteY2" fmla="*/ 257442 h 257442"/>
                <a:gd name="connsiteX3" fmla="*/ 1 w 3321643"/>
                <a:gd name="connsiteY3" fmla="*/ 0 h 257442"/>
                <a:gd name="connsiteX0" fmla="*/ 3321643 w 3321643"/>
                <a:gd name="connsiteY0" fmla="*/ 0 h 257442"/>
                <a:gd name="connsiteX1" fmla="*/ 3266921 w 3321643"/>
                <a:gd name="connsiteY1" fmla="*/ 257442 h 257442"/>
                <a:gd name="connsiteX2" fmla="*/ 0 w 3321643"/>
                <a:gd name="connsiteY2" fmla="*/ 257442 h 257442"/>
                <a:gd name="connsiteX3" fmla="*/ 1 w 3321643"/>
                <a:gd name="connsiteY3" fmla="*/ 0 h 257442"/>
                <a:gd name="connsiteX0" fmla="*/ 3481943 w 3481943"/>
                <a:gd name="connsiteY0" fmla="*/ 0 h 257442"/>
                <a:gd name="connsiteX1" fmla="*/ 3266921 w 3481943"/>
                <a:gd name="connsiteY1" fmla="*/ 257442 h 257442"/>
                <a:gd name="connsiteX2" fmla="*/ 0 w 3481943"/>
                <a:gd name="connsiteY2" fmla="*/ 257442 h 257442"/>
                <a:gd name="connsiteX3" fmla="*/ 1 w 3481943"/>
                <a:gd name="connsiteY3" fmla="*/ 0 h 257442"/>
                <a:gd name="connsiteX0" fmla="*/ 3481943 w 3481943"/>
                <a:gd name="connsiteY0" fmla="*/ 0 h 257442"/>
                <a:gd name="connsiteX1" fmla="*/ 3427222 w 3481943"/>
                <a:gd name="connsiteY1" fmla="*/ 257442 h 257442"/>
                <a:gd name="connsiteX2" fmla="*/ 0 w 3481943"/>
                <a:gd name="connsiteY2" fmla="*/ 257442 h 257442"/>
                <a:gd name="connsiteX3" fmla="*/ 1 w 3481943"/>
                <a:gd name="connsiteY3" fmla="*/ 0 h 257442"/>
                <a:gd name="connsiteX0" fmla="*/ 3481942 w 3481942"/>
                <a:gd name="connsiteY0" fmla="*/ 0 h 257442"/>
                <a:gd name="connsiteX1" fmla="*/ 3427221 w 3481942"/>
                <a:gd name="connsiteY1" fmla="*/ 257442 h 257442"/>
                <a:gd name="connsiteX2" fmla="*/ 0 w 3481942"/>
                <a:gd name="connsiteY2" fmla="*/ 257442 h 257442"/>
                <a:gd name="connsiteX3" fmla="*/ 0 w 3481942"/>
                <a:gd name="connsiteY3" fmla="*/ 0 h 257442"/>
                <a:gd name="connsiteX0" fmla="*/ 3481943 w 3481943"/>
                <a:gd name="connsiteY0" fmla="*/ 0 h 257442"/>
                <a:gd name="connsiteX1" fmla="*/ 3427222 w 3481943"/>
                <a:gd name="connsiteY1" fmla="*/ 257442 h 257442"/>
                <a:gd name="connsiteX2" fmla="*/ 1 w 3481943"/>
                <a:gd name="connsiteY2" fmla="*/ 257442 h 257442"/>
                <a:gd name="connsiteX3" fmla="*/ 0 w 3481943"/>
                <a:gd name="connsiteY3" fmla="*/ 0 h 257442"/>
                <a:gd name="connsiteX0" fmla="*/ 3650259 w 3650259"/>
                <a:gd name="connsiteY0" fmla="*/ 0 h 257442"/>
                <a:gd name="connsiteX1" fmla="*/ 3427222 w 3650259"/>
                <a:gd name="connsiteY1" fmla="*/ 257442 h 257442"/>
                <a:gd name="connsiteX2" fmla="*/ 1 w 3650259"/>
                <a:gd name="connsiteY2" fmla="*/ 257442 h 257442"/>
                <a:gd name="connsiteX3" fmla="*/ 0 w 3650259"/>
                <a:gd name="connsiteY3" fmla="*/ 0 h 257442"/>
                <a:gd name="connsiteX0" fmla="*/ 3650259 w 3650259"/>
                <a:gd name="connsiteY0" fmla="*/ 0 h 257442"/>
                <a:gd name="connsiteX1" fmla="*/ 3595538 w 3650259"/>
                <a:gd name="connsiteY1" fmla="*/ 257442 h 257442"/>
                <a:gd name="connsiteX2" fmla="*/ 1 w 3650259"/>
                <a:gd name="connsiteY2" fmla="*/ 257442 h 257442"/>
                <a:gd name="connsiteX3" fmla="*/ 0 w 3650259"/>
                <a:gd name="connsiteY3" fmla="*/ 0 h 257442"/>
                <a:gd name="connsiteX0" fmla="*/ 3650259 w 3650259"/>
                <a:gd name="connsiteY0" fmla="*/ 0 h 257442"/>
                <a:gd name="connsiteX1" fmla="*/ 3595538 w 3650259"/>
                <a:gd name="connsiteY1" fmla="*/ 257442 h 257442"/>
                <a:gd name="connsiteX2" fmla="*/ 1 w 3650259"/>
                <a:gd name="connsiteY2" fmla="*/ 257442 h 257442"/>
                <a:gd name="connsiteX3" fmla="*/ 0 w 3650259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836205 w 3836205"/>
                <a:gd name="connsiteY0" fmla="*/ 0 h 257442"/>
                <a:gd name="connsiteX1" fmla="*/ 3595537 w 3836205"/>
                <a:gd name="connsiteY1" fmla="*/ 257442 h 257442"/>
                <a:gd name="connsiteX2" fmla="*/ 0 w 3836205"/>
                <a:gd name="connsiteY2" fmla="*/ 257442 h 257442"/>
                <a:gd name="connsiteX3" fmla="*/ 0 w 3836205"/>
                <a:gd name="connsiteY3" fmla="*/ 0 h 257442"/>
                <a:gd name="connsiteX0" fmla="*/ 3836205 w 3836205"/>
                <a:gd name="connsiteY0" fmla="*/ 0 h 257442"/>
                <a:gd name="connsiteX1" fmla="*/ 3781484 w 3836205"/>
                <a:gd name="connsiteY1" fmla="*/ 257442 h 257442"/>
                <a:gd name="connsiteX2" fmla="*/ 0 w 3836205"/>
                <a:gd name="connsiteY2" fmla="*/ 257442 h 257442"/>
                <a:gd name="connsiteX3" fmla="*/ 0 w 3836205"/>
                <a:gd name="connsiteY3" fmla="*/ 0 h 257442"/>
                <a:gd name="connsiteX0" fmla="*/ 3836206 w 3836206"/>
                <a:gd name="connsiteY0" fmla="*/ 0 h 257442"/>
                <a:gd name="connsiteX1" fmla="*/ 3781485 w 3836206"/>
                <a:gd name="connsiteY1" fmla="*/ 257442 h 257442"/>
                <a:gd name="connsiteX2" fmla="*/ 0 w 3836206"/>
                <a:gd name="connsiteY2" fmla="*/ 257442 h 257442"/>
                <a:gd name="connsiteX3" fmla="*/ 1 w 3836206"/>
                <a:gd name="connsiteY3" fmla="*/ 0 h 257442"/>
                <a:gd name="connsiteX0" fmla="*/ 3836206 w 3836206"/>
                <a:gd name="connsiteY0" fmla="*/ 0 h 257442"/>
                <a:gd name="connsiteX1" fmla="*/ 3781485 w 3836206"/>
                <a:gd name="connsiteY1" fmla="*/ 257442 h 257442"/>
                <a:gd name="connsiteX2" fmla="*/ 0 w 3836206"/>
                <a:gd name="connsiteY2" fmla="*/ 257442 h 257442"/>
                <a:gd name="connsiteX3" fmla="*/ 0 w 3836206"/>
                <a:gd name="connsiteY3" fmla="*/ 0 h 257442"/>
                <a:gd name="connsiteX0" fmla="*/ 3650258 w 3781485"/>
                <a:gd name="connsiteY0" fmla="*/ 0 h 257442"/>
                <a:gd name="connsiteX1" fmla="*/ 3781485 w 3781485"/>
                <a:gd name="connsiteY1" fmla="*/ 257442 h 257442"/>
                <a:gd name="connsiteX2" fmla="*/ 0 w 3781485"/>
                <a:gd name="connsiteY2" fmla="*/ 257442 h 257442"/>
                <a:gd name="connsiteX3" fmla="*/ 0 w 3781485"/>
                <a:gd name="connsiteY3" fmla="*/ 0 h 257442"/>
                <a:gd name="connsiteX0" fmla="*/ 3650258 w 3650258"/>
                <a:gd name="connsiteY0" fmla="*/ 0 h 257442"/>
                <a:gd name="connsiteX1" fmla="*/ 3595538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650258 w 3650258"/>
                <a:gd name="connsiteY0" fmla="*/ 0 h 257442"/>
                <a:gd name="connsiteX1" fmla="*/ 3595538 w 3650258"/>
                <a:gd name="connsiteY1" fmla="*/ 257442 h 257442"/>
                <a:gd name="connsiteX2" fmla="*/ 1 w 3650258"/>
                <a:gd name="connsiteY2" fmla="*/ 257442 h 257442"/>
                <a:gd name="connsiteX3" fmla="*/ 0 w 3650258"/>
                <a:gd name="connsiteY3" fmla="*/ 0 h 257442"/>
                <a:gd name="connsiteX0" fmla="*/ 3650257 w 3650257"/>
                <a:gd name="connsiteY0" fmla="*/ 0 h 257442"/>
                <a:gd name="connsiteX1" fmla="*/ 3595537 w 3650257"/>
                <a:gd name="connsiteY1" fmla="*/ 257442 h 257442"/>
                <a:gd name="connsiteX2" fmla="*/ 0 w 3650257"/>
                <a:gd name="connsiteY2" fmla="*/ 257442 h 257442"/>
                <a:gd name="connsiteX3" fmla="*/ 0 w 365025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0257" h="257442">
                  <a:moveTo>
                    <a:pt x="3650257" y="0"/>
                  </a:moveTo>
                  <a:lnTo>
                    <a:pt x="359553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RunningAgenda2LevelTextLeft875286">
              <a:extLst>
                <a:ext uri="{FF2B5EF4-FFF2-40B4-BE49-F238E27FC236}">
                  <a16:creationId xmlns:a16="http://schemas.microsoft.com/office/drawing/2014/main" id="{D1C0299B-A091-A6A9-6556-0E71E2AD131E}"/>
                </a:ext>
              </a:extLst>
            </p:cNvPr>
            <p:cNvSpPr txBox="1"/>
            <p:nvPr/>
          </p:nvSpPr>
          <p:spPr bwMode="gray">
            <a:xfrm>
              <a:off x="0" y="876300"/>
              <a:ext cx="35955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sentiment</a:t>
              </a:r>
            </a:p>
          </p:txBody>
        </p:sp>
        <p:sp>
          <p:nvSpPr>
            <p:cNvPr id="32" name="btfpRunningAgenda2LevelBarRight875286">
              <a:extLst>
                <a:ext uri="{FF2B5EF4-FFF2-40B4-BE49-F238E27FC236}">
                  <a16:creationId xmlns:a16="http://schemas.microsoft.com/office/drawing/2014/main" id="{DA6F2C0F-D5E0-4EF3-459D-8FA5F4C453C1}"/>
                </a:ext>
              </a:extLst>
            </p:cNvPr>
            <p:cNvSpPr/>
            <p:nvPr/>
          </p:nvSpPr>
          <p:spPr bwMode="gray">
            <a:xfrm>
              <a:off x="3515416" y="876300"/>
              <a:ext cx="1869321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436960 w 1436960"/>
                <a:gd name="connsiteY0" fmla="*/ 0 h 257442"/>
                <a:gd name="connsiteX1" fmla="*/ 1064395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605275 w 1605275"/>
                <a:gd name="connsiteY0" fmla="*/ 0 h 257442"/>
                <a:gd name="connsiteX1" fmla="*/ 1382239 w 1605275"/>
                <a:gd name="connsiteY1" fmla="*/ 257442 h 257442"/>
                <a:gd name="connsiteX2" fmla="*/ 0 w 1605275"/>
                <a:gd name="connsiteY2" fmla="*/ 257442 h 257442"/>
                <a:gd name="connsiteX3" fmla="*/ 54721 w 1605275"/>
                <a:gd name="connsiteY3" fmla="*/ 0 h 257442"/>
                <a:gd name="connsiteX0" fmla="*/ 1605275 w 1605275"/>
                <a:gd name="connsiteY0" fmla="*/ 0 h 257442"/>
                <a:gd name="connsiteX1" fmla="*/ 1550554 w 1605275"/>
                <a:gd name="connsiteY1" fmla="*/ 257442 h 257442"/>
                <a:gd name="connsiteX2" fmla="*/ 0 w 1605275"/>
                <a:gd name="connsiteY2" fmla="*/ 257442 h 257442"/>
                <a:gd name="connsiteX3" fmla="*/ 54721 w 1605275"/>
                <a:gd name="connsiteY3" fmla="*/ 0 h 257442"/>
                <a:gd name="connsiteX0" fmla="*/ 1605275 w 1605275"/>
                <a:gd name="connsiteY0" fmla="*/ 0 h 257442"/>
                <a:gd name="connsiteX1" fmla="*/ 1550554 w 1605275"/>
                <a:gd name="connsiteY1" fmla="*/ 257442 h 257442"/>
                <a:gd name="connsiteX2" fmla="*/ 0 w 1605275"/>
                <a:gd name="connsiteY2" fmla="*/ 257442 h 257442"/>
                <a:gd name="connsiteX3" fmla="*/ 54721 w 1605275"/>
                <a:gd name="connsiteY3" fmla="*/ 0 h 257442"/>
                <a:gd name="connsiteX0" fmla="*/ 1605275 w 1605275"/>
                <a:gd name="connsiteY0" fmla="*/ 0 h 257442"/>
                <a:gd name="connsiteX1" fmla="*/ 1550554 w 1605275"/>
                <a:gd name="connsiteY1" fmla="*/ 257442 h 257442"/>
                <a:gd name="connsiteX2" fmla="*/ 0 w 1605275"/>
                <a:gd name="connsiteY2" fmla="*/ 257442 h 257442"/>
                <a:gd name="connsiteX3" fmla="*/ 54721 w 1605275"/>
                <a:gd name="connsiteY3" fmla="*/ 0 h 257442"/>
                <a:gd name="connsiteX0" fmla="*/ 1436960 w 1550554"/>
                <a:gd name="connsiteY0" fmla="*/ 0 h 257442"/>
                <a:gd name="connsiteX1" fmla="*/ 1550554 w 1550554"/>
                <a:gd name="connsiteY1" fmla="*/ 257442 h 257442"/>
                <a:gd name="connsiteX2" fmla="*/ 0 w 1550554"/>
                <a:gd name="connsiteY2" fmla="*/ 257442 h 257442"/>
                <a:gd name="connsiteX3" fmla="*/ 54721 w 1550554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436960 w 1436960"/>
                <a:gd name="connsiteY0" fmla="*/ 0 h 257442"/>
                <a:gd name="connsiteX1" fmla="*/ 1382239 w 1436960"/>
                <a:gd name="connsiteY1" fmla="*/ 257442 h 257442"/>
                <a:gd name="connsiteX2" fmla="*/ 0 w 1436960"/>
                <a:gd name="connsiteY2" fmla="*/ 257442 h 257442"/>
                <a:gd name="connsiteX3" fmla="*/ 54721 w 1436960"/>
                <a:gd name="connsiteY3" fmla="*/ 0 h 257442"/>
                <a:gd name="connsiteX0" fmla="*/ 1276660 w 1382239"/>
                <a:gd name="connsiteY0" fmla="*/ 0 h 257442"/>
                <a:gd name="connsiteX1" fmla="*/ 1382239 w 1382239"/>
                <a:gd name="connsiteY1" fmla="*/ 257442 h 257442"/>
                <a:gd name="connsiteX2" fmla="*/ 0 w 1382239"/>
                <a:gd name="connsiteY2" fmla="*/ 257442 h 257442"/>
                <a:gd name="connsiteX3" fmla="*/ 54721 w 1382239"/>
                <a:gd name="connsiteY3" fmla="*/ 0 h 257442"/>
                <a:gd name="connsiteX0" fmla="*/ 1276660 w 1276660"/>
                <a:gd name="connsiteY0" fmla="*/ 0 h 257442"/>
                <a:gd name="connsiteX1" fmla="*/ 1221940 w 1276660"/>
                <a:gd name="connsiteY1" fmla="*/ 257442 h 257442"/>
                <a:gd name="connsiteX2" fmla="*/ 0 w 1276660"/>
                <a:gd name="connsiteY2" fmla="*/ 257442 h 257442"/>
                <a:gd name="connsiteX3" fmla="*/ 54721 w 1276660"/>
                <a:gd name="connsiteY3" fmla="*/ 0 h 257442"/>
                <a:gd name="connsiteX0" fmla="*/ 1276659 w 1276659"/>
                <a:gd name="connsiteY0" fmla="*/ 0 h 257442"/>
                <a:gd name="connsiteX1" fmla="*/ 1221939 w 1276659"/>
                <a:gd name="connsiteY1" fmla="*/ 257442 h 257442"/>
                <a:gd name="connsiteX2" fmla="*/ 0 w 1276659"/>
                <a:gd name="connsiteY2" fmla="*/ 257442 h 257442"/>
                <a:gd name="connsiteX3" fmla="*/ 54720 w 1276659"/>
                <a:gd name="connsiteY3" fmla="*/ 0 h 257442"/>
                <a:gd name="connsiteX0" fmla="*/ 1276659 w 1276659"/>
                <a:gd name="connsiteY0" fmla="*/ 0 h 257442"/>
                <a:gd name="connsiteX1" fmla="*/ 1221939 w 1276659"/>
                <a:gd name="connsiteY1" fmla="*/ 257442 h 257442"/>
                <a:gd name="connsiteX2" fmla="*/ 0 w 1276659"/>
                <a:gd name="connsiteY2" fmla="*/ 257442 h 257442"/>
                <a:gd name="connsiteX3" fmla="*/ 54721 w 1276659"/>
                <a:gd name="connsiteY3" fmla="*/ 0 h 257442"/>
                <a:gd name="connsiteX0" fmla="*/ 1119116 w 1221939"/>
                <a:gd name="connsiteY0" fmla="*/ 0 h 257442"/>
                <a:gd name="connsiteX1" fmla="*/ 1221939 w 1221939"/>
                <a:gd name="connsiteY1" fmla="*/ 257442 h 257442"/>
                <a:gd name="connsiteX2" fmla="*/ 0 w 1221939"/>
                <a:gd name="connsiteY2" fmla="*/ 257442 h 257442"/>
                <a:gd name="connsiteX3" fmla="*/ 54721 w 1221939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97050 w 1297050"/>
                <a:gd name="connsiteY0" fmla="*/ 0 h 257442"/>
                <a:gd name="connsiteX1" fmla="*/ 1064395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297050 w 1402629"/>
                <a:gd name="connsiteY0" fmla="*/ 0 h 257442"/>
                <a:gd name="connsiteX1" fmla="*/ 1402629 w 1402629"/>
                <a:gd name="connsiteY1" fmla="*/ 257442 h 257442"/>
                <a:gd name="connsiteX2" fmla="*/ 0 w 1402629"/>
                <a:gd name="connsiteY2" fmla="*/ 257442 h 257442"/>
                <a:gd name="connsiteX3" fmla="*/ 54721 w 1402629"/>
                <a:gd name="connsiteY3" fmla="*/ 0 h 257442"/>
                <a:gd name="connsiteX0" fmla="*/ 1297050 w 1297050"/>
                <a:gd name="connsiteY0" fmla="*/ 0 h 257442"/>
                <a:gd name="connsiteX1" fmla="*/ 1242330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49 w 1297049"/>
                <a:gd name="connsiteY0" fmla="*/ 0 h 257442"/>
                <a:gd name="connsiteX1" fmla="*/ 1242329 w 1297049"/>
                <a:gd name="connsiteY1" fmla="*/ 257442 h 257442"/>
                <a:gd name="connsiteX2" fmla="*/ 0 w 1297049"/>
                <a:gd name="connsiteY2" fmla="*/ 257442 h 257442"/>
                <a:gd name="connsiteX3" fmla="*/ 54720 w 1297049"/>
                <a:gd name="connsiteY3" fmla="*/ 0 h 257442"/>
                <a:gd name="connsiteX0" fmla="*/ 1297049 w 1297049"/>
                <a:gd name="connsiteY0" fmla="*/ 0 h 257442"/>
                <a:gd name="connsiteX1" fmla="*/ 1242329 w 1297049"/>
                <a:gd name="connsiteY1" fmla="*/ 257442 h 257442"/>
                <a:gd name="connsiteX2" fmla="*/ 0 w 1297049"/>
                <a:gd name="connsiteY2" fmla="*/ 257442 h 257442"/>
                <a:gd name="connsiteX3" fmla="*/ 54721 w 1297049"/>
                <a:gd name="connsiteY3" fmla="*/ 0 h 257442"/>
                <a:gd name="connsiteX0" fmla="*/ 1119116 w 1242329"/>
                <a:gd name="connsiteY0" fmla="*/ 0 h 257442"/>
                <a:gd name="connsiteX1" fmla="*/ 1242329 w 1242329"/>
                <a:gd name="connsiteY1" fmla="*/ 257442 h 257442"/>
                <a:gd name="connsiteX2" fmla="*/ 0 w 1242329"/>
                <a:gd name="connsiteY2" fmla="*/ 257442 h 257442"/>
                <a:gd name="connsiteX3" fmla="*/ 54721 w 1242329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380406 w 1380406"/>
                <a:gd name="connsiteY0" fmla="*/ 0 h 257442"/>
                <a:gd name="connsiteX1" fmla="*/ 106439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540706 w 1540706"/>
                <a:gd name="connsiteY0" fmla="*/ 0 h 257442"/>
                <a:gd name="connsiteX1" fmla="*/ 13256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709021 w 1709021"/>
                <a:gd name="connsiteY0" fmla="*/ 0 h 257442"/>
                <a:gd name="connsiteX1" fmla="*/ 1485985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9321" h="257442">
                  <a:moveTo>
                    <a:pt x="1869321" y="0"/>
                  </a:moveTo>
                  <a:lnTo>
                    <a:pt x="1814600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9" name="btfpRunningAgenda2LevelTextRight875286">
              <a:extLst>
                <a:ext uri="{FF2B5EF4-FFF2-40B4-BE49-F238E27FC236}">
                  <a16:creationId xmlns:a16="http://schemas.microsoft.com/office/drawing/2014/main" id="{B9BC9ADE-331B-F279-9871-299BCF9BBFA3}"/>
                </a:ext>
              </a:extLst>
            </p:cNvPr>
            <p:cNvSpPr txBox="1"/>
            <p:nvPr/>
          </p:nvSpPr>
          <p:spPr bwMode="gray">
            <a:xfrm>
              <a:off x="3515416" y="876300"/>
              <a:ext cx="181460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drivers</a:t>
              </a:r>
            </a:p>
          </p:txBody>
        </p:sp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E67C1DF-8C6C-18CB-D309-D37636251366}"/>
              </a:ext>
            </a:extLst>
          </p:cNvPr>
          <p:cNvCxnSpPr>
            <a:cxnSpLocks/>
          </p:cNvCxnSpPr>
          <p:nvPr/>
        </p:nvCxnSpPr>
        <p:spPr bwMode="gray">
          <a:xfrm>
            <a:off x="5443984" y="2982694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E9FE126-A00F-5DB9-5D21-C25DB1BB22B9}"/>
              </a:ext>
            </a:extLst>
          </p:cNvPr>
          <p:cNvCxnSpPr>
            <a:cxnSpLocks/>
          </p:cNvCxnSpPr>
          <p:nvPr/>
        </p:nvCxnSpPr>
        <p:spPr bwMode="gray">
          <a:xfrm>
            <a:off x="5443984" y="3459478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A3F297E-3498-7704-FCF0-663E49C04B8B}"/>
              </a:ext>
            </a:extLst>
          </p:cNvPr>
          <p:cNvCxnSpPr>
            <a:cxnSpLocks/>
          </p:cNvCxnSpPr>
          <p:nvPr/>
        </p:nvCxnSpPr>
        <p:spPr bwMode="gray">
          <a:xfrm>
            <a:off x="5443984" y="3936262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FD3DCAA-3BD9-6BB0-5A48-4D396614CB05}"/>
              </a:ext>
            </a:extLst>
          </p:cNvPr>
          <p:cNvCxnSpPr>
            <a:cxnSpLocks/>
          </p:cNvCxnSpPr>
          <p:nvPr/>
        </p:nvCxnSpPr>
        <p:spPr bwMode="gray">
          <a:xfrm>
            <a:off x="5443984" y="4413046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9EDD912-36A9-A584-AB63-E0367A8305E8}"/>
              </a:ext>
            </a:extLst>
          </p:cNvPr>
          <p:cNvCxnSpPr>
            <a:cxnSpLocks/>
          </p:cNvCxnSpPr>
          <p:nvPr/>
        </p:nvCxnSpPr>
        <p:spPr bwMode="gray">
          <a:xfrm>
            <a:off x="5443984" y="4889830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A706AA6-9AE1-D8DB-1AAB-9731D39CE2F2}"/>
              </a:ext>
            </a:extLst>
          </p:cNvPr>
          <p:cNvCxnSpPr>
            <a:cxnSpLocks/>
          </p:cNvCxnSpPr>
          <p:nvPr/>
        </p:nvCxnSpPr>
        <p:spPr bwMode="gray">
          <a:xfrm>
            <a:off x="5443984" y="5366614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054866B-6503-1C38-22B0-378AAE13F7E0}"/>
              </a:ext>
            </a:extLst>
          </p:cNvPr>
          <p:cNvCxnSpPr>
            <a:cxnSpLocks/>
          </p:cNvCxnSpPr>
          <p:nvPr/>
        </p:nvCxnSpPr>
        <p:spPr bwMode="gray">
          <a:xfrm>
            <a:off x="5443984" y="5843399"/>
            <a:ext cx="637843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8B0BCD6E-A411-BB93-2F3E-4C51253403FC}"/>
              </a:ext>
            </a:extLst>
          </p:cNvPr>
          <p:cNvSpPr txBox="1"/>
          <p:nvPr/>
        </p:nvSpPr>
        <p:spPr bwMode="gray">
          <a:xfrm>
            <a:off x="7659422" y="2304380"/>
            <a:ext cx="403743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C00000"/>
                </a:solidFill>
              </a:rPr>
              <a:t>-5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78D829E-FD19-56C7-FC6D-509C57FF8751}"/>
              </a:ext>
            </a:extLst>
          </p:cNvPr>
          <p:cNvSpPr txBox="1"/>
          <p:nvPr/>
        </p:nvSpPr>
        <p:spPr bwMode="gray">
          <a:xfrm>
            <a:off x="8295314" y="2304380"/>
            <a:ext cx="403743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>
                <a:solidFill>
                  <a:srgbClr val="C00000"/>
                </a:solidFill>
              </a:rPr>
              <a:t>-25%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9A9F302-F608-85A0-1E60-684E5AED1D7F}"/>
              </a:ext>
            </a:extLst>
          </p:cNvPr>
          <p:cNvGrpSpPr/>
          <p:nvPr/>
        </p:nvGrpSpPr>
        <p:grpSpPr>
          <a:xfrm>
            <a:off x="7429389" y="2041043"/>
            <a:ext cx="4427230" cy="182697"/>
            <a:chOff x="7388199" y="2141168"/>
            <a:chExt cx="4427230" cy="182697"/>
          </a:xfrm>
        </p:grpSpPr>
        <p:sp>
          <p:nvSpPr>
            <p:cNvPr id="83" name="Isosceles Triangle 82">
              <a:extLst>
                <a:ext uri="{FF2B5EF4-FFF2-40B4-BE49-F238E27FC236}">
                  <a16:creationId xmlns:a16="http://schemas.microsoft.com/office/drawing/2014/main" id="{EE4B7C04-CDA4-4631-A235-680077FBE26D}"/>
                </a:ext>
              </a:extLst>
            </p:cNvPr>
            <p:cNvSpPr/>
            <p:nvPr/>
          </p:nvSpPr>
          <p:spPr bwMode="gray">
            <a:xfrm rot="16200000">
              <a:off x="9470017" y="71781"/>
              <a:ext cx="170266" cy="4333901"/>
            </a:xfrm>
            <a:prstGeom prst="triangle">
              <a:avLst>
                <a:gd name="adj" fmla="val 49999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9" name="btfpNumberBubble887755">
              <a:extLst>
                <a:ext uri="{FF2B5EF4-FFF2-40B4-BE49-F238E27FC236}">
                  <a16:creationId xmlns:a16="http://schemas.microsoft.com/office/drawing/2014/main" id="{34CEBBF7-F86F-89FC-9810-32D28AC141E0}"/>
                </a:ext>
              </a:extLst>
            </p:cNvPr>
            <p:cNvSpPr/>
            <p:nvPr/>
          </p:nvSpPr>
          <p:spPr bwMode="gray">
            <a:xfrm>
              <a:off x="7418295" y="2141168"/>
              <a:ext cx="182292" cy="18229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>
                  <a:solidFill>
                    <a:srgbClr val="CC0000"/>
                  </a:solidFill>
                </a:rPr>
                <a:t>-</a:t>
              </a:r>
            </a:p>
          </p:txBody>
        </p:sp>
        <p:sp>
          <p:nvSpPr>
            <p:cNvPr id="33" name="btfpNumberBubble887755">
              <a:extLst>
                <a:ext uri="{FF2B5EF4-FFF2-40B4-BE49-F238E27FC236}">
                  <a16:creationId xmlns:a16="http://schemas.microsoft.com/office/drawing/2014/main" id="{84F3FC1F-2CCA-4077-E953-058035389C8F}"/>
                </a:ext>
              </a:extLst>
            </p:cNvPr>
            <p:cNvSpPr/>
            <p:nvPr/>
          </p:nvSpPr>
          <p:spPr bwMode="gray">
            <a:xfrm>
              <a:off x="11633137" y="2141168"/>
              <a:ext cx="182292" cy="18229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>
                  <a:solidFill>
                    <a:srgbClr val="CC0000"/>
                  </a:solidFill>
                </a:rPr>
                <a:t>+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FDE8427-ABAF-641B-747F-E16F8969C3FD}"/>
              </a:ext>
            </a:extLst>
          </p:cNvPr>
          <p:cNvGrpSpPr/>
          <p:nvPr/>
        </p:nvGrpSpPr>
        <p:grpSpPr>
          <a:xfrm rot="16200000">
            <a:off x="-1356500" y="4210117"/>
            <a:ext cx="3513790" cy="182698"/>
            <a:chOff x="8301639" y="2141167"/>
            <a:chExt cx="3513790" cy="182698"/>
          </a:xfrm>
        </p:grpSpPr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6749AE5E-1A95-1D18-F1B6-69B4B78D913B}"/>
                </a:ext>
              </a:extLst>
            </p:cNvPr>
            <p:cNvSpPr/>
            <p:nvPr/>
          </p:nvSpPr>
          <p:spPr bwMode="gray">
            <a:xfrm rot="16200000">
              <a:off x="9920522" y="522285"/>
              <a:ext cx="182697" cy="3420463"/>
            </a:xfrm>
            <a:prstGeom prst="triangle">
              <a:avLst>
                <a:gd name="adj" fmla="val 49999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7" name="btfpNumberBubble887755">
              <a:extLst>
                <a:ext uri="{FF2B5EF4-FFF2-40B4-BE49-F238E27FC236}">
                  <a16:creationId xmlns:a16="http://schemas.microsoft.com/office/drawing/2014/main" id="{1F77992C-D7AC-4744-7E25-D4DC05C2997C}"/>
                </a:ext>
              </a:extLst>
            </p:cNvPr>
            <p:cNvSpPr/>
            <p:nvPr/>
          </p:nvSpPr>
          <p:spPr bwMode="gray">
            <a:xfrm rot="16200000">
              <a:off x="8335431" y="2141167"/>
              <a:ext cx="182292" cy="18229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>
                  <a:solidFill>
                    <a:srgbClr val="CC0000"/>
                  </a:solidFill>
                </a:rPr>
                <a:t>-</a:t>
              </a:r>
            </a:p>
          </p:txBody>
        </p:sp>
        <p:sp>
          <p:nvSpPr>
            <p:cNvPr id="63" name="btfpNumberBubble887755">
              <a:extLst>
                <a:ext uri="{FF2B5EF4-FFF2-40B4-BE49-F238E27FC236}">
                  <a16:creationId xmlns:a16="http://schemas.microsoft.com/office/drawing/2014/main" id="{E3104FEB-0735-389D-6D76-6D5F2FED1D6C}"/>
                </a:ext>
              </a:extLst>
            </p:cNvPr>
            <p:cNvSpPr/>
            <p:nvPr/>
          </p:nvSpPr>
          <p:spPr bwMode="gray">
            <a:xfrm>
              <a:off x="11633137" y="2141168"/>
              <a:ext cx="182292" cy="18229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>
                  <a:solidFill>
                    <a:srgbClr val="CC0000"/>
                  </a:solidFill>
                </a:rPr>
                <a:t>+</a:t>
              </a:r>
            </a:p>
          </p:txBody>
        </p:sp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58795829-AAFA-5A11-2FDE-73BD7D7A16F1}"/>
              </a:ext>
            </a:extLst>
          </p:cNvPr>
          <p:cNvCxnSpPr/>
          <p:nvPr/>
        </p:nvCxnSpPr>
        <p:spPr bwMode="gray">
          <a:xfrm>
            <a:off x="7727721" y="2512385"/>
            <a:ext cx="7887" cy="3326472"/>
          </a:xfrm>
          <a:prstGeom prst="line">
            <a:avLst/>
          </a:prstGeom>
          <a:ln w="3175" cap="flat">
            <a:solidFill>
              <a:schemeClr val="accent2">
                <a:lumMod val="7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C1CFD902-C0DF-7148-1534-DFC590D0DAD6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2" y="950918"/>
            <a:ext cx="257175" cy="25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17370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8F7D9A2A-940D-44AF-5259-B7C96479DC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60" imgH="360" progId="TCLayout.ActiveDocument.1">
                  <p:embed/>
                </p:oleObj>
              </mc:Choice>
              <mc:Fallback>
                <p:oleObj name="think-cell Slide" r:id="rId40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7D9A2A-940D-44AF-5259-B7C96479D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btfpQuoteBox701730">
            <a:extLst>
              <a:ext uri="{FF2B5EF4-FFF2-40B4-BE49-F238E27FC236}">
                <a16:creationId xmlns:a16="http://schemas.microsoft.com/office/drawing/2014/main" id="{218714F0-8CD2-C696-74E3-7DAC54B85EB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209591" y="2687122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You know you’re working with a good vendor when they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great at communicating with you at all levels of their org. Sphere supplied skilled personnel to our facility who could get the job done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n time and on the day promised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</a:t>
            </a:r>
          </a:p>
        </p:txBody>
      </p:sp>
      <p:sp>
        <p:nvSpPr>
          <p:cNvPr id="150" name="btfpQuoteBox701730">
            <a:extLst>
              <a:ext uri="{FF2B5EF4-FFF2-40B4-BE49-F238E27FC236}">
                <a16:creationId xmlns:a16="http://schemas.microsoft.com/office/drawing/2014/main" id="{5604F37A-C610-44E7-9743-819DB18994C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5209591" y="164764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ese guys deliver.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matter what the problem is, if it's fire related, they have you covered. The technicians that come on site are polite and respectful. 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if they don't have the part or information you need with them they get it immediately.”</a:t>
            </a:r>
          </a:p>
        </p:txBody>
      </p:sp>
      <p:sp>
        <p:nvSpPr>
          <p:cNvPr id="25" name="btfpQuoteBox701730">
            <a:extLst>
              <a:ext uri="{FF2B5EF4-FFF2-40B4-BE49-F238E27FC236}">
                <a16:creationId xmlns:a16="http://schemas.microsoft.com/office/drawing/2014/main" id="{872DA36C-CC69-D2EB-F891-AC99769E91C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5209591" y="3289352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at service! Recertified my equipment at my shop. So convenient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!.</a:t>
            </a:r>
            <a:r>
              <a:rPr lang="en-US" sz="900" i="1">
                <a:latin typeface="Arial"/>
              </a:rPr>
              <a:t>”</a:t>
            </a:r>
            <a:endParaRPr kumimoji="0" lang="en-US" sz="90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4" name="btfpRowHeaderBox136256">
            <a:extLst>
              <a:ext uri="{FF2B5EF4-FFF2-40B4-BE49-F238E27FC236}">
                <a16:creationId xmlns:a16="http://schemas.microsoft.com/office/drawing/2014/main" id="{0694CEDD-9BB0-41C9-B0A3-8D4DCD2C99D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930843" y="3784297"/>
            <a:ext cx="1225155" cy="756052"/>
            <a:chOff x="-1182322" y="1787519"/>
            <a:chExt cx="2540000" cy="1387830"/>
          </a:xfrm>
        </p:grpSpPr>
        <p:sp>
          <p:nvSpPr>
            <p:cNvPr id="156" name="btfpRowHeaderBoxText136256">
              <a:extLst>
                <a:ext uri="{FF2B5EF4-FFF2-40B4-BE49-F238E27FC236}">
                  <a16:creationId xmlns:a16="http://schemas.microsoft.com/office/drawing/2014/main" id="{80F13E6D-608A-4562-A7E1-8CF43B14B2C7}"/>
                </a:ext>
              </a:extLst>
            </p:cNvPr>
            <p:cNvSpPr txBox="1"/>
            <p:nvPr/>
          </p:nvSpPr>
          <p:spPr bwMode="gray">
            <a:xfrm>
              <a:off x="-1182322" y="1787519"/>
              <a:ext cx="2540000" cy="1387830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meliness &amp; punctuality</a:t>
              </a:r>
            </a:p>
          </p:txBody>
        </p:sp>
        <p:cxnSp>
          <p:nvCxnSpPr>
            <p:cNvPr id="157" name="btfpRowHeaderBoxLine136256">
              <a:extLst>
                <a:ext uri="{FF2B5EF4-FFF2-40B4-BE49-F238E27FC236}">
                  <a16:creationId xmlns:a16="http://schemas.microsoft.com/office/drawing/2014/main" id="{9F4B29D0-BAB8-442B-8EC4-379D88FA8E07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341457" y="1787519"/>
              <a:ext cx="19" cy="1387830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btfpRowHeaderBox136256">
            <a:extLst>
              <a:ext uri="{FF2B5EF4-FFF2-40B4-BE49-F238E27FC236}">
                <a16:creationId xmlns:a16="http://schemas.microsoft.com/office/drawing/2014/main" id="{12FE9146-3CBE-453D-A648-3F2E5252109B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930843" y="1669295"/>
            <a:ext cx="1225155" cy="996492"/>
            <a:chOff x="-1182322" y="1745022"/>
            <a:chExt cx="2540000" cy="2359427"/>
          </a:xfrm>
        </p:grpSpPr>
        <p:sp>
          <p:nvSpPr>
            <p:cNvPr id="151" name="btfpRowHeaderBoxText136256">
              <a:extLst>
                <a:ext uri="{FF2B5EF4-FFF2-40B4-BE49-F238E27FC236}">
                  <a16:creationId xmlns:a16="http://schemas.microsoft.com/office/drawing/2014/main" id="{C5EE0586-0ED7-4D13-BEF0-2CA285E0916E}"/>
                </a:ext>
              </a:extLst>
            </p:cNvPr>
            <p:cNvSpPr txBox="1"/>
            <p:nvPr/>
          </p:nvSpPr>
          <p:spPr bwMode="gray">
            <a:xfrm>
              <a:off x="-1182322" y="1745022"/>
              <a:ext cx="2540000" cy="2359427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ff professionalism / friendliness</a:t>
              </a:r>
            </a:p>
          </p:txBody>
        </p:sp>
        <p:cxnSp>
          <p:nvCxnSpPr>
            <p:cNvPr id="152" name="btfpRowHeaderBoxLine136256">
              <a:extLst>
                <a:ext uri="{FF2B5EF4-FFF2-40B4-BE49-F238E27FC236}">
                  <a16:creationId xmlns:a16="http://schemas.microsoft.com/office/drawing/2014/main" id="{7C87AE05-F9E1-4C42-AC4E-BC1498D1A4DC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352097" y="1745022"/>
              <a:ext cx="0" cy="2359427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btfpRowHeaderBox136256">
            <a:extLst>
              <a:ext uri="{FF2B5EF4-FFF2-40B4-BE49-F238E27FC236}">
                <a16:creationId xmlns:a16="http://schemas.microsoft.com/office/drawing/2014/main" id="{FF8B60D2-47BF-C7FF-61E5-D589040BAFE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930843" y="2717300"/>
            <a:ext cx="1225155" cy="1015484"/>
            <a:chOff x="-1182322" y="1587470"/>
            <a:chExt cx="2900299" cy="1370566"/>
          </a:xfrm>
        </p:grpSpPr>
        <p:sp>
          <p:nvSpPr>
            <p:cNvPr id="71" name="btfpRowHeaderBoxText136256">
              <a:extLst>
                <a:ext uri="{FF2B5EF4-FFF2-40B4-BE49-F238E27FC236}">
                  <a16:creationId xmlns:a16="http://schemas.microsoft.com/office/drawing/2014/main" id="{423D9EB8-88DD-9B0D-EBB3-90857A1EF48C}"/>
                </a:ext>
              </a:extLst>
            </p:cNvPr>
            <p:cNvSpPr txBox="1"/>
            <p:nvPr/>
          </p:nvSpPr>
          <p:spPr bwMode="gray">
            <a:xfrm>
              <a:off x="-1182322" y="1587470"/>
              <a:ext cx="2900299" cy="1370566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verall customer service</a:t>
              </a:r>
            </a:p>
          </p:txBody>
        </p:sp>
        <p:cxnSp>
          <p:nvCxnSpPr>
            <p:cNvPr id="72" name="btfpRowHeaderBoxLine136256">
              <a:extLst>
                <a:ext uri="{FF2B5EF4-FFF2-40B4-BE49-F238E27FC236}">
                  <a16:creationId xmlns:a16="http://schemas.microsoft.com/office/drawing/2014/main" id="{61377234-2E92-44B0-519A-EADFAC4EBD7E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710470" y="1587470"/>
              <a:ext cx="19" cy="1370566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btfpQuoteBox701730">
            <a:extLst>
              <a:ext uri="{FF2B5EF4-FFF2-40B4-BE49-F238E27FC236}">
                <a16:creationId xmlns:a16="http://schemas.microsoft.com/office/drawing/2014/main" id="{6302D853-964E-515E-EEA9-155E11FE1BFC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5209591" y="2286347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solidFill>
                  <a:srgbClr val="000000"/>
                </a:solidFill>
                <a:latin typeface="Arial"/>
              </a:rPr>
              <a:t>“</a:t>
            </a:r>
            <a:r>
              <a:rPr lang="en-US" sz="900" b="1" i="1">
                <a:solidFill>
                  <a:srgbClr val="507867"/>
                </a:solidFill>
                <a:latin typeface="Arial"/>
              </a:rPr>
              <a:t>Simply put Sphere has the best people. Everyone on the team strives for best in class performance 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day in and day out.”</a:t>
            </a:r>
            <a:endParaRPr kumimoji="0" lang="en-US" sz="90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2" name="btfpColumnIndicatorGroup2">
            <a:extLst>
              <a:ext uri="{FF2B5EF4-FFF2-40B4-BE49-F238E27FC236}">
                <a16:creationId xmlns:a16="http://schemas.microsoft.com/office/drawing/2014/main" id="{52358970-999C-5A7D-AE74-81395276E76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6" name="btfpColumnGapBlocker714813">
              <a:extLst>
                <a:ext uri="{FF2B5EF4-FFF2-40B4-BE49-F238E27FC236}">
                  <a16:creationId xmlns:a16="http://schemas.microsoft.com/office/drawing/2014/main" id="{469CC0D3-8978-20CB-47DC-5130D456359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btfpColumnGapBlocker252074">
              <a:extLst>
                <a:ext uri="{FF2B5EF4-FFF2-40B4-BE49-F238E27FC236}">
                  <a16:creationId xmlns:a16="http://schemas.microsoft.com/office/drawing/2014/main" id="{3639743F-2D87-18CD-98F5-E7BC0FFE655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" name="btfpColumnIndicator554237">
              <a:extLst>
                <a:ext uri="{FF2B5EF4-FFF2-40B4-BE49-F238E27FC236}">
                  <a16:creationId xmlns:a16="http://schemas.microsoft.com/office/drawing/2014/main" id="{7126B521-35BE-AEA6-A8EB-2CDFA88792F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202033">
              <a:extLst>
                <a:ext uri="{FF2B5EF4-FFF2-40B4-BE49-F238E27FC236}">
                  <a16:creationId xmlns:a16="http://schemas.microsoft.com/office/drawing/2014/main" id="{AEC6E56E-E47A-FF12-5709-24316CB75A6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btfpColumnIndicatorGroup1">
            <a:extLst>
              <a:ext uri="{FF2B5EF4-FFF2-40B4-BE49-F238E27FC236}">
                <a16:creationId xmlns:a16="http://schemas.microsoft.com/office/drawing/2014/main" id="{BE8FBA66-A244-67E7-4EE5-0E6DB2476D5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4" name="btfpColumnGapBlocker315596">
              <a:extLst>
                <a:ext uri="{FF2B5EF4-FFF2-40B4-BE49-F238E27FC236}">
                  <a16:creationId xmlns:a16="http://schemas.microsoft.com/office/drawing/2014/main" id="{6BB7CDFC-ACBF-0D7B-FC62-2A2304DBBA9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btfpColumnGapBlocker737548">
              <a:extLst>
                <a:ext uri="{FF2B5EF4-FFF2-40B4-BE49-F238E27FC236}">
                  <a16:creationId xmlns:a16="http://schemas.microsoft.com/office/drawing/2014/main" id="{133BBEC5-0792-CD42-6D0E-B9427A82346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5" name="btfpColumnIndicator329651">
              <a:extLst>
                <a:ext uri="{FF2B5EF4-FFF2-40B4-BE49-F238E27FC236}">
                  <a16:creationId xmlns:a16="http://schemas.microsoft.com/office/drawing/2014/main" id="{424D17D9-3286-5DE0-60A9-21CF4D0B400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442790">
              <a:extLst>
                <a:ext uri="{FF2B5EF4-FFF2-40B4-BE49-F238E27FC236}">
                  <a16:creationId xmlns:a16="http://schemas.microsoft.com/office/drawing/2014/main" id="{54D87EB0-4BD6-6CE2-340A-F8F8F8858912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207645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1740361282557469 columns_1_131740344387940758 6_1_131740338237529813 9_1_131740338237680210 12_0_131740338238000738 15_0_131740338238171188 16_0_131740338238702602 17_0_131740338239063566 18_1_131740338239314573 23_0_131740338239836017 26_0_131740338239976009 31_1_131740360388380890 32_1_131740361156218642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1"/>
            <a:ext cx="11473804" cy="876687"/>
          </a:xfrm>
        </p:spPr>
        <p:txBody>
          <a:bodyPr vert="horz" wrap="square"/>
          <a:lstStyle/>
          <a:p>
            <a:r>
              <a:rPr lang="en-US" b="1"/>
              <a:t>Sphere: </a:t>
            </a:r>
            <a:r>
              <a:rPr lang="en-US"/>
              <a:t>Largely positive sentiment around staff professionalism, overall customer service, quality, and timeliness &amp; punctuality; minor concerns on price and reliability</a:t>
            </a:r>
            <a:endParaRPr lang="en-US" sz="1200">
              <a:latin typeface="+mn-lt"/>
            </a:endParaRPr>
          </a:p>
        </p:txBody>
      </p:sp>
      <p:sp>
        <p:nvSpPr>
          <p:cNvPr id="16" name="BainBulletsConfiguration" hidden="1"/>
          <p:cNvSpPr txBox="1"/>
          <p:nvPr>
            <p:custDataLst>
              <p:tags r:id="rId10"/>
            </p:custDataLst>
          </p:nvPr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8" name="btfpColumnHeaderBox198768">
            <a:extLst>
              <a:ext uri="{FF2B5EF4-FFF2-40B4-BE49-F238E27FC236}">
                <a16:creationId xmlns:a16="http://schemas.microsoft.com/office/drawing/2014/main" id="{8BA0BCB6-25BD-4CC3-9628-0E159D18F90D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3934878" y="1259726"/>
            <a:ext cx="7892341" cy="318997"/>
            <a:chOff x="4776416" y="1197299"/>
            <a:chExt cx="6616393" cy="318997"/>
          </a:xfrm>
        </p:grpSpPr>
        <p:sp>
          <p:nvSpPr>
            <p:cNvPr id="129" name="btfpColumnHeaderBoxText198768">
              <a:extLst>
                <a:ext uri="{FF2B5EF4-FFF2-40B4-BE49-F238E27FC236}">
                  <a16:creationId xmlns:a16="http://schemas.microsoft.com/office/drawing/2014/main" id="{44F2B64A-1E53-4410-BE47-66C836FC13E8}"/>
                </a:ext>
              </a:extLst>
            </p:cNvPr>
            <p:cNvSpPr txBox="1"/>
            <p:nvPr/>
          </p:nvSpPr>
          <p:spPr bwMode="gray">
            <a:xfrm>
              <a:off x="4776416" y="1197299"/>
              <a:ext cx="661639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ice of the consumer</a:t>
              </a:r>
            </a:p>
          </p:txBody>
        </p:sp>
        <p:cxnSp>
          <p:nvCxnSpPr>
            <p:cNvPr id="130" name="btfpColumnHeaderBoxLine198768">
              <a:extLst>
                <a:ext uri="{FF2B5EF4-FFF2-40B4-BE49-F238E27FC236}">
                  <a16:creationId xmlns:a16="http://schemas.microsoft.com/office/drawing/2014/main" id="{120B3E89-D88C-4738-BF5F-37146484573B}"/>
                </a:ext>
              </a:extLst>
            </p:cNvPr>
            <p:cNvCxnSpPr/>
            <p:nvPr/>
          </p:nvCxnSpPr>
          <p:spPr bwMode="gray">
            <a:xfrm>
              <a:off x="4776416" y="1516296"/>
              <a:ext cx="6616393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btfpCallout300276">
            <a:extLst>
              <a:ext uri="{FF2B5EF4-FFF2-40B4-BE49-F238E27FC236}">
                <a16:creationId xmlns:a16="http://schemas.microsoft.com/office/drawing/2014/main" id="{956043EE-E922-95D9-FF53-6BF3916ED55C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292293" y="1683713"/>
            <a:ext cx="1088627" cy="272990"/>
          </a:xfrm>
          <a:prstGeom prst="wedgeRectCallout">
            <a:avLst>
              <a:gd name="adj1" fmla="val 14936"/>
              <a:gd name="adj2" fmla="val 82823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73" rIns="9144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split of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gativ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itive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entions</a:t>
            </a:r>
          </a:p>
        </p:txBody>
      </p:sp>
      <p:sp>
        <p:nvSpPr>
          <p:cNvPr id="32" name="Rectangle 3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ItN+BdkIU6kSkys1oz4FTbg3IAHFZDQQIUI41CPkYeCkR+S8QFB2kPylUA3JsntOnMnXuTmmpeohPhgnOvWjiNP4cCh+z42DRoUDd0F5oEyYSBORxcufULdyqbjgsLC1hbu3v6AK8/KZla0/zJFwYx44yx6IV0fcVWYrL8X7vXePk0vxHZZT83xERsDVGrT9rJOtO/N2KUX8gc5O+9jL+jg1pXSOp9UJM71MnkGEFCZAFUtd/1xOaH8tUoiXos5Xfh4K4FGD37pp2keYasLRPwxzieAwnaAVyrBTfaZl44A0fXBxuAo3nzsXlXTyF73sJBiiWg11CFITeA1GheR1UIEkY8g3MntwUsVbaRLH9L4++pNxfCdbCtCJUSlbsP+931cjqHNAPX2HLag1vjqqdnEBgUZhJEwCMQJ351Y/iwKKzDT5KJX6Y30WcUAm6OIZZ8TenWGo/m4mZ1nsGI4lDAS6KhbhF2yL6EbcvpodtdGiAFgyUWZmWw498A/9QXbOeSDbJe1g3fap87n96R391l30OppGPra/juL1+FJRVplVpiebvw2/8cpVLymuvOwc7Toq5YRIuWVT1G+qW5huEhFE+zY97zR3jEa8zLKyFb0zDJTrU9RBMNbi1Q0XGc1iQoz0wkIB6k2pvIi1MYVxjr+Oky2RReBI6Z4vEYFgfdsVlELBQCSoDYCUchlfeqoalP8aQA9MldKbBxlPzmDOFA5akvUOlKQFwrq+6Ll4IBkbMzMRYLWXOCOPLU6GUERaI4YPlbxtxZmZBRExjA9rvNByfzG/QAzU7XDhSUfcx5xieZqqnFgK2eFZPhlsz20MeYBHD5dWLImsiEJ/eWpsd6x8mS7mpbYLZGvDGQ/zqqOnjFXGlARew27HJaASgt/e448BG0aqwhnlElfLXXojnmg7lJYQYJOix8wAdTUAs+ZIjHYYxBJV1HILka0uQH5zPD2kWXgPAVirV3pxsIjOH1ujbR+ZL3f4rVUgGZHCsxqQfXXzt5q5ONIRe3Zh0sKspOJu/4soGlXCmPsuv7DMrkihpypQz9wqIYNtd7mBsfayBKo3Jhbuuk342v7s4I+sgPKzLL5KzV3C41M2aoUMxalOjAHWuJQpFVwqXWcZfb7KChG7uZN+MtnekaX8OGBSTaEkixaxI0j6pVsirCgHF3MfYsf8H39WfhUsaT0JoAHDPnIuNMTnXrgWUQr5tH8VVFrS6O41hWby2pk1FR4KSDXB9tXlv9jEeXu9mCCpi5pTNqTZeBt3852fNKwA4cYB4ZFmIbHbqZEMEjRGBELVLpofPgEMFliWzxz17bfCYgxvV+MUrMOrtag6HjcA3GAQBqsfuqbrsYQfFGIJHS91Yvgqap3Ix75l5e17+Lsu13K7yqgjg49WU3Ue4izuO0wCnOJlz5QFcCE2ScJSzo9l7O2TjOZcCqamexW+LUwYOP7EyEv+R/j1BTrUCl4I5eYJEbG+dSw0kC6Gd613ps/fdQqEGBykwgVh+SCjvqcgT+CGkKyg3jhwKVHKeTrsqRB5uZGSKNbilVp/0uYt7SUxopMrZqfnbBaI6Hbvei82InHF1LjoY5Ygw13YmohtiusYV+4Oaft+/1kiEIfffw5Zfm1jM5zYfWPV3Noc7af53DxP+CrTA0sKtjSrUcerkOQ1OTpHAzTMkoPJPx7CdvdBPKp37xUSpeJzVQORuzyR2FZHHIVVmLzUUbhiZ9A4m9rvzfUgGs+qKO5SbpQfNzb3+ZAVIuMFgjuWVqeQ6FdO9apSzics5XT0fgnjlk5ovR3rUjAKYYO6XkInzczA6P3e35ISLhvL1jdDH68p04W7gwLLN+cQ4i8t7o0xEAbOcIdQvi1JNGiO97f52162XUGGqrj80gX1gSURNVjWVxDdcvkXNDpuio1S6VFACN+HqsfpmGQhnUAfXZI/pOLXR3xEuq/O+rDBF6JJmFgzum3Hd+A0yFJUzpKUKRVn8LKGB5YlxWlSJr0Isv373yEIuZbHNdySPT6eIT+Ama2KQqFLkSJJadEXf/U9jOeA4j2DXZj8mP/DQ5EgSvtDbx0UR58TlytSwiWevqTK0JCYkU3YGQ8u7qvvmYB7pmRzU+CIOhiyFX4nygVsVUbieoj9pAtDFkKy3FDSRARFdNqN09eFY87RJ+5mJTBadjsGl0eYBLZvFBd5FqEeuArvUXP7I7yJ2CUDY61PCIOBz2lxYr+eiIiKjYZ36mWGaUFEBMATJ4iB1h224DUk4E2JHhDOAgcVvFYyiZtmyqXibwsC/Z61c/R7K1eHdGM6rhWFcULkxdvI5+h5RDvzwPxKHZbRetP9GwxeFtFnAhXXy6VHz/EfFvreFFLBRQUSflqpeA09ErE6nF/etFkpVDPv6dU1ki/83fFrUwYXLHxtAEaIgRq9erCMHlU6N0Xod5btAAjQOC+G3Ac/zzozIlpKMThZuHN7onxdM2yO5f52fRRiMxTrYXSKf16sKF0aly3EX6FHw2vHrEjkYOFPhbERM4vCKVZedjVEzmPtPR67tGJj9eYI25eoUbuRPrWQBrR0Y4nE45nI7guMZL+9qIxvn2FX/nVezZnLjNnCl6lJH6U+E7184GoJer9XbP0/BGTXh29bzQI0KcDjUTL5gT980okBMedD5z+Oj1ZmFyu6TEnMifNjGXK9GXuDMvFYT3BNC5e0gKt6506YSxWAxQG3JDiNy+GlWcltxNl3t8a7XTuihmgJcTAoaLIAmlENh0/PWH6vKHsgEk+8ZhrVavzms4Bgp6trG+UgBjLn42uM1GjrT1Y3UV47Y46cGNMPMgH0+WYrTLtCxviHB1vBDMc9FweVoZIhPmRZtUOoVdIoOwMa73QvicuuogARQOSmrHL2vWpf7bzyugC8DJfM2fW3ojqzwk4xLgdF8u/70gQiWNzoR6SPOzvN4snFB81nHhgkZR/Ezrap1peIMYpaGkbbNpMCatK1d+BOuKLXkfyEZpnHR7VJx0hGlsQ9gCJvjpJLTqvfh/wl3h6Q4Xz3JMP0u4706CT3qMznWrpSPU0/Iz0oUl8SsYKFBSFHGbl29AQU/c/cPHXpo4Ip02ugLwdOBqNSiv7+QpdvUDsbVvTkN1fxy1tTR/DFXR3XaPzBpXknYhr6OIjcDbH+K1tMvLVkkFNNP0C/KDfEFPoSwkfGAoQNy+JnNyz33CPaSmiZjEAqHyJXwUBAVnX3X2f/hqx8OJoGh1mL0bP0EesISpeNNhLxWNIqI3wsxM2oqs1TPS6IqEU6iqc876cKgVsX/LzICkUZHDqaVuy0Oo1hQmjV0l9vlw8s3cf9ZemzrY8131w9cwi3ZqPecQ9napWnKD0083/gjWykJYYhUw8CIEqTOWLG1maGocfXt69XHErChK7S6PLldpPVQgktYu+ZloeWsFgJm2LuRn2hwbyIi2R65z9hkW5wJmW0bocBmrCBqRRXK9LCLJWPqF+sGGHnunDf83MAjV70z70mu1ACUDplFhVoNqGnlO6rXbcCr65haEporERDtQoimJl7N4SwvYqNwTCFWzr992y5MiBlVcB6e3Jndc8qhREOfH3/j7ZY8VXt06+3JWAfxLx5cOFWv+04Fwb30jiYqEiEfACicxt4SnBPZm6EdgIMZW+i0Lxjw1gE+7Q7JS4pVM52z/ZPfkfhGq9GwYrdqUg5W1nWQlDUZOiJsAS1k4vcwthPK2whVRi2Vv8uLaSsDtZ92ZwPbo1m03N5KoU2IOw48oB2+SBNUXYdqXp0sc92yYGdsmODPQQXysgWWCT3dF5Ty/zhhaRcD5oL7BnwWIMgwJLxXPOS6UWNbopQnwQfJqM8fQ5mMnUzogctjGtsW8QsdXO2bwOGhMIhdzsZfJ7cfLfPb/ViJtK8oQCXo5EhUvJyrHJ3uqD/072DXhkVzdqQRpXu2LdOUDNUKQ95zGveCq8hstj2C0PstW2OIOz8ZRq78sh6AeAWdNbua5dTTw1mSVwTJCQcNFdy8015AlDP7+lAXzTEez54CCxIRF0yVIHZDZZE93mpNGTSPOwDwfbRzLuLL+svOqiKsSkR7kz212eOldzTbRMbMOQszP9Dltm0xBQ0tI7a0hbClLInbZBOIaT385fxklJcDfEhneDfzHUsbRaUEmy2uvUTmFdkHRXteRZZwgvvXrkRp04iGgJjo+b1obYbKLiRsvynNAhF860fBWlRvXkZ+2vwqC11+hSYkl5Ltf0+kVPQyN3iZw2c928TdEj91jOkw8nVwWdTBIO3dlIjj9ihGYaqKtccWBRvjO3wpMuO75V0I/kDPRNVsf/2kZyUfFqErAwF7iwD9TXguMUv4gbMmcb04nPCZ9BuasTN22ei4+cJxpZ7uMJSowRLdtJqXvXuz/0QSunbUOpRtbAtOJaYCer6zAxKJ6d45mKHh3luA3EwQAAv5YR/comBECVADyDhZQiucUZkJ2Ngk02jimed1zUi03qNjh5pfYQjZwrW/W5MUEO2mnNV/Hzj7KuJbw7cuCcTYB5IxokbAA0sJVCD0HIhICItQR0oQSsphbWd7J7IjP0deVRxeUkZWBokiAVoYgtd/bhIvGCriv7Q7zoT7ZYd4/LIZweGvAPuNqeX2OJOCoWUJ70SvliVtLf/l5XuF0ldhPRcgEET8Hi6s+O/wOYYZZ1SCfFDKWurt6fnF57BbH1WvQ8aTSier7DaHsLzt6Gx9taFtRWrifmthfaF6sPF/0YQkrVFfYVFVT7+50wsp0EZ4iBBVcamcTCFWE2yXZqmu1H/XyCgomaXiuXQVBy4DaSzyl+qoJ6bXXXPVCk/XKRhrTI/Nygp+CIon6sZyHcxrx1yepcue0cda3/tAX4KF90NQ70rRr+s0x3DWVV3l0qBcQz7JYatKKzh7MmHieO9NIBlZXgxcBHo0c2wzjzNBYMc3hVLkXCE76MI8scBhADG5fvudngxYgtUZCMP0KGolbOOdGNckZDkXYWl2bJZ/KYomoZMbg+bSHWySQhR1+IUgFjdaogaqe4zMqi3fO7nLlMOAcVWFQTR9rLpwZ8m7sj/NYcT85bVC/FAI3VRNcr6f6YIGTgh2QlIJdAis5Be7XvN3bpaf+9Th49yfnqzwBtVG5i3JLwiLRG1UQbNKEZ4dqldfezLJf4G72gMJyUIhP0MM3FDIwYxj000dTeBjpgISx/9sOPjRy6ItZ6I5XtNTzj/zuzJu0dk4l1tq7/rsW+Svil1VCv/vrlmA/hO2/3rWgSdZVfyGBLla0MTCCd8xBPm5ixj4Q7AoXQQHZjUSY6XYWTK8Wzx3SyRAVrc+K0jABSwD7wydEqAlky9QN83d3l0WAtEpdBaxvbsSWK9HNIE3h0ILormYWUrO2YTzDugyXIgTmEyhb6zBVdcSTwCkmMsXy7k0O50bXl5WfA/ZN7wqg9EsUm5TERR2Zi3KwSdxqZcpyOrBqz2F0pg6nEvcP08me9tpYTyQEE3lZTcx196kUaCuipJ3yXteo2i3a+zcuZ3OOMR7+YsPPIireOmonOFetr43T/tHvKXu5RIKSZB3clgcBh6+HignczBSldYuNa2uTOFp/Yq38hB6rtYgmBOus3OTMOrm+x5ioSpwNZ14quVVv1Emg0QHFQG/gKNAIh8GmDN/NfP6IWV1ip5a5fgWJz3CNhlVT5GEziBSjUPIE2QI/o9dvtisTdSGayRJGAxNGQVXo93BNmcGNQTxcgR5hbjB70G7pM2Eb0omYUQHN/hv7aw+RshvWBk+TNogFJ2eTxMZR9jCLsw7AC/LPZsJmU25YIQQ2esmBa8igfKeVYcIA+1kb6pibWIqJ05IbF9EXknCTaSetOWAqvCO2B3mTdi7rXMDVdyOmIjchibNRmkKfTSaSUEVpFn+VSXRYUhmGLWSzSLk/wkLih6QaSb6mkVKDu22sHRRgc6y/cont8sAx0jcAiAJs/Yy09AtXhXyYInPP+No7VhbfnkJ4b/A5dwXTlEOpHMB6dlnID+Q5b+7XxXViQFy9OWzmAj7nzXxJYkz1nDiz/w65sg30V2bLFL5qhNEXQGopfIZ9fLoqwuBnVleV+j96ZW6xrU+HUSqiyJHRpPtQz3N1W5CrL5tfU8hU/Hl0mLNeOnhhLUpGymy2hoBIwpOZ8VgVQLd5M3SHvTruVxprUzLvOY7nq2tEv/yryVXEnOXWoyjfXtjwIeJ6JtJm6I1JdDuZndf/ZW3ihSRMlvVb1/IxxmJr6Dc32yLGQUYKLWFVqbcMl1JUrK4w6My/XrZOG0I9QCDug20OJO+sOxp3YlVv7wQldeUxQWph4kIGaNwANW4+/REiN/waRl/MpCTAS+Fgb6bSIbXSoLTFJWK/iVisLeflHv5qRkA1YSIAZ27l18dUvTuB2jfYoQJz8vqpzxclAXsspDukpVqpfvuFDhyEGzbDS3QNEHATtPPwPoTzk94rHVGS9O/7/KiZf3HnMXFbYDV1WjaCPVRK+gx4sFiWe+6BFt+Ibn0O2aXkLfjstOcLEAnh54tM9yB3qyhzJsfTArEcrB1OpiJQ6mfSadjgUMn5KRxTbZA3z1LbospE4Se9dfA/A+PAV4EVpXdBIliqlQU93xmzISDNAA81a3umYLC5XWQcUtCJ0zBz3QfrmvELmcLAwgZ5YH/1OSQP7b67B/gDv81Aa3Wsg+3ztSLcbBY+/NVyQxMoHipFAVdcO/XiSxYe+ygeUR2j7FQNfyxPeM9nSsU4a/FoTwf4e9l/EWKA+HeDeJUuDoXdMiOGd4KO4t8m0N4q4yYehZC3IyWPrNHdcavLKD1lSFM6qJurbQaxgoQrAZSIj38JY+8aJFY5Be+0iYzMOU3CCX0NbOLXdQ9QFmIPjsMgg/DIuIe1iTq+pv2lomkrSdmWAKsH3+fBUnDsC0XFiabns5WhIkPR9uKlTCPRHbA0PJn7l8VhWelSLNIjI3K9m27hPQnE1B9BoyXbcup+b1QdsmcnfIufRZpaXzUZ8PYmQypA/9NkQxOxyIw5a2aqcl6L9hOEB19UkZTVKJPZJVtCtiBDHO2B7o04M6CosZ5l2opd7zdUeMMByJ+1s8I3zIqEPfC+S154cktqZ+sIaO4mqEA3HBUs4OohGNkDYhvlA7KEeye9VL++NNqTJWUCtLKjxHKrQ3ma0kZaNeXZqOKI802dlH9CQ/ozGeC0CduafD0NcaFJPNnIRggoNS4hxRTaTzVF/4SbSvQeWuXw06gCYpUpGwOOWHx4tUT6kjFn1GFjSxTaNA3y/lTvLKRF/fokD8rqO0kRA/DSx2X9zO0iQaQDcQ5SHteXSE7qh41lrk/gIF5f6Q9aJT09+P3AwPhi8zv5M9bUke757usYcGgCfnbdygRnURE9b4hia/QiCpH0jORnMsIy0AJPHH1mpAirMMUJcf9x/F+aqeglVZ8Wq+uHVIUP8M+ojMmcqSZ7CAcYMm5sWufP3T7hbOaU4ZsUjohLenwW04bhfAfwKREmYUO/aPpZC/y5vPNoyQ/UoJYWhqBwgyM/zVvBMPu4bP0vy3eg+0WHDabmLl+faTque6TL5nKSf+VBqI1iXNYIlo/dQeC/JRe2gGRjuyN0ltmpXQwhpMPK8P2UgqxKHqKrI9lBh19BzR4sO9EoPBn0rbg5S6Vt9KcCUu2PswLGKtUqBitrVdwh9R67Q2BdfbR1k5erx6ic+85XDnqREO7UeTiVtWH3WK0ZpCgIKJN6B6TQDXZCKHX5+7b4jfJSdIhJd4TuVgX9INTXU7HcFtO8rzrVbtgRiXpWjBdiGKXseaCJNCz0EGXVmkSgEN/yqDK0MFDFNOG2WnJxva44zu9TjV++aqQGhb/kO679PLUKlGCw8eQRahJI074nI5lBtMmA26xFIlKWOByKf2kt0Zmr5Z5OA1NYTaZF9sAHB5QK8dN5Ufvi0lWUfQzEhWaQknwo6xccVPCPaQfo2/DI/BXUIl0pi6cO9GwD/lkAVnAgU8+9WlyzJwfI+HlRBReX/X9tBeNyQxWRvhxf5NrVZWEHulkiSTNcTlex5lu6JGrXVCRpnl1ljWEeMT7ZizurTDQCWkHpb85s7HNNkT6P87uCyK2F/3k72DU1nMhGEeywoky9HhVtig4EJmIaTZwfaNOXh2S+uEUcya+Pz2R5G03EhdWMlXiSUW2VodOPBWvI8L3Qekw+UVe7ihV2fuhbAHChQVCuRDq97+QW4twSvUU7WymUj8Vm90/07bg7/SyJ0sjqbf/+5U6n8/1HJUdRRD2mfcntQt2FaOHPNRU7mSATsTKXoPPPc/ZEZUE/CQbuaItGwjRxazfw/05f9FppV0VMwWAp1RT2527UdI4wQiTN3jr8wPpoyssG2HoLPSui2JrQGyHk5ZBCVV4gbafBdTQZCLH4M6aAwmcPBBiZdVu4EYU+o+OQkKeXIQhDFpg9yTUbE5wuV8/wAReNWyrk7uIviMPPI6I2PdTSpHKAgaBonquUrR270GVoOUbY0jFun/pW3oCOFCFcPJE5lxGDuXHkKbljNNYrKUIZFhW57e7Av45OltaMyVK1eP707olvYW2rs6a1+MF4lw1RhS6jCgZFjbLECT1QRlXsAxLRv9RNX4SOeaP4KNCSt+oy8dJQlLyTKb1NldUyQw5YGTFnzMLCPfpeXwEY1bcTL0FDfiwZQ46GTHAvWQAVsZ73D5XYg8/rTTEC9N8oUobdXKMbipbRzuvJPXpc8x0l3HjwoSD8NjsjxoQnQ9iA3rZOJ+j3yPYj05w1qNnEb57ELpnb4BpaTyiS+Sx3cVpUUoc0oAWxKrmtWljzGcmalifhvdaY0szi1X1GTqJrrYrNkSSmyPDTEd4c7VX8xCd3KkBZ3zR4JLxW7fYHpqhaZwR8v7/Bv96CflpfNws5A5O/L9H7pAP+3eLlE5M9fGMDZfaqqvvbg+iLXrzSBxgq6FqSnei1Dzzo1267LOnjT4Pt6X08JhGVQHw/z1DoaJLkr1p+cp0RN4FNg8aXXk24dUH76o4arsNsM37d1X/YOAkxeKQo1XOnDprzqIgFjyobAxmOqMQ1OgLciqYSvRuymZlM2e4QklrspDuxktmVd/lsHoxNSar5g7hEAv+fPJrUwQt8933AzowFFiITbF+CesEB887YuK7PoExd9yJz3AmE8q5RGhz/bfIeR5yjoq1ueZcPNzuo7I+xagiHb2QZRPk9ztI5oW6ff92im+qfEgmprsop21155frhVWT3hE4ll/Mmrc30df1K6xX80x0AeYW0uMNyh+WS+SKc48BJsyk+37mnyj9yYYal95+BBrt5p1/BYmKCM08qY3HgKnVm66IXMIxVgBvuiP8xqRzD44NyE7uvsSVRvULrCGsiMgxne4lvXjIv+byV6uAICngPYxCO+TRK4i0tkypimwEENyWl7yo9vS+FJ3AIy8teeZYZZxz+ylInpLHGNQNAZigh7g2dhEbP/YHJqw/Joh4J2q32mjJXPZP//LBvDXVSVtlr8tzUUS0E9Z+UvP1fSkgNuU0JBlsj93ydk7KzobXG00A/S5HKWYNGg+KtaIexGk9K1zmnQS4WL4VwYqh5Ao7oGSnoC3sXJnlyhgoijxQPAND/C+hdOyMMKyIlMyFrgQbd33wVxEpwmwzP4QG/1b008u0EPBxXGNqDIq3Fa6/vZTnasdjvHQ5yZu7oZ464Ez2UqRkd+WslQkpLp1bpRU+FjDkNaLvQNPE93S0f3KcisWNulLPtp2EkXAZItN+qWrzNiBiyS3EOTEy7w7iJ3mIiruDdT9tPKI0ae/D86RbveNEj5TLQ5eIfpY1kWfBBY6gxBWmB+HepZmKnWzMqd/90LqotlFecTLKvH9ovPWqKd6Qst2YjyvPffdCXULs7+Mc2dIhsPsoekgaJECjC7hP/fu/2l360vVcKB6mDyssz8VVX1Uj5zOAtP9v0Zva60Pagi4UbEUoce3CBqUHthdVyy+d+U4AVQLCyYUMQAf8iG66l5qsTAUfPW6ojmUEPcFZFFsfX27+AC5t6F1aEdPy64epvJ1AwTRrSV7JpQAauyUVsoJkezUY1pQu1LeLok9NngZDYP/60vWY5KTBfZuawtgs6T0wzTkJAtHEMmohUsINPkyh1tunlPh3m1VT2pJSPvA95IkiDPfQLawif0nO2QPa6ZAfL5bVQe0DKkXqfc/AukMYHCByu+1b2wqGZWDLXjkNU7S7CiVy+hUudvp+o4iwFsb5VcgO+pdpRTt4vS4P0bRoWvVkfU5ZwUSaoa1jq4p/hrPoTEmuqVXNie8Zp+7Y5WJWvldpCzzd/yxQ3ngvlm3kXABqFSPwgkMfWLUb1XGg//y5eh0f4JhushBNJ11+zlkLRD2rvL2M7baZ/o78f7l7h5JVcDmZE4PvcB6dNJQAFCRehnIB1kNRPIWdLv63TcszFia0P4nCQM0xWmZ7vAf3ZTM8+28nSEiN4aKae0HGHiDrhEzhc+bTp+mT8/Q6dm5YXZqOoVX8IHkrzjaF1MUlH04CXRg7EnuIYdzRznl9O/AbCkuMWTgPgYxqPb+Zc0f0APr4olb/uW03K1uQuQKfHC/OsdsGeAMEIS+YiLIOGcWk3SgqJqdV3gRrSifbexr1z6RTOIefK8715nXrJmLKFZ/t0iJSBsjvAGxf/MylLXA0hpEj3U9X4jq1Jkx5Ape/VTpGe1afd6CSZXflpjU7FlDGJwXH5KeBA8yDAaqfuHoKGyKbYIAHJdDRwmL4B+30khgAtpfAOzxSKQGWqZnuZaAZ/85dVoFiJ0+DCousnHEL14zoMeQAHzS9eSN0rEUWnC43iAU9RPkzBe4J7NDgaMDA3Mr9VX8AUV1KDIR3H+RxKu6yG38EPaKDonxJVqbLzO1zZciGxQBfcm1mkRfjT4nI+yijGldeW6O8qjcYZeAJGGutqoaQBsdy9vIrTudD50VCBUXNvlZ6b8by1JnuQ1+/cn9uDCTOFtpvlJC/kq27r2ey8hSGyJavBDiI8mMPr7ZiGSkR+AenN5XVsGnTySpspFga9+u84FEtZrBD1IiEbzIX3qJLEg2zP7gWrBhtHUhIuM+beZZd/mO/wK92axiMUC6bJ7UpN6FWzDbf1qFNSJ9d5+S0vaDUhRUHre6d5vFlDFMAbRmJTjaG+wDOafLjsxPB8N6v8fD28rCaxkZigKdW1bRPP5rxWxczCS1g1YoW9mgiuBWopHD9R6ujqztoZRiiLXP2wHl1glMDz9O7cBxwaJwokljX27xefzhcqWrKrD30u/ZKbkJlMHBi8lsk16DlpZUQUI1BrZLU7kUIM8kBAOktkqFZzsJJZxWqwOlJgzpC2qnHyAYgbJNC85uvIaDgGDaU4kg56SVulIBSy9ApoLLh4MyJwrDrHc3LgVsQ9UDjqG+Ekc37+3A//3XyXakUs932Wk++Zyta9yuFMOD3ii6ofc+oIqDcSlO5XFko7NVT/lyW6P2kiyW/VPstZC34VR6YpALaBYaLOUjFqNM5AvRDwaXyC4vtyedV0Fdu4Hq5B4mtGUv/oStUCsBPos3sEtzCKXZ6XquSpxAFFDHBpaF7O94V/nc1szvUJqpcrIj1QkFk2O5ySuCRnf4kHEqXNm0TnlOnS2tmZSKT9VutYgWqVJJ0B2aiKmqjU7WM+pOA1zokkeEGpxUIQTnZHD7XM9StEnZNLuoNgMkfn7jaH1qMU8KrLOp13mg97nzZmrVinNj73Aev/rlBLJwzS5e9wf+6ufhJ2ywWHsPh8xNPV8dUtGD8izGBRVogASY5ZruPDqijz4ycycr4UJH+SHiQ/TAjKTn4NHHkzCmr+M6hXIbmPOP6mQx0rpGCZfUYzoSDSAEQDZ7jCwegz/mxgrl+3d067IgNQyPcO/OTJ041lryJ0Rwjuh0twjBA25R4sCO52fcl5nBENLOQD4kLXVILOO5HzyL0btqJ+HSWl0lDQJqu5170L1z7eUHK4Pqd0O+By/QLxuW8Mk2lBNsTl0PUSDXwsky5AXebHAF+CiqSDX3gvu5FTGVq/w1xtOTNhzoUWw4Nmv/OOLBh4a97STD5vP6Y380ZsZS9t3MSPL+67uFS1qCV/gJXIoEBhnjwpvNfMetgbil5ZkDX6ypoGl5m3EYyiECISeurwg1UjY3ionD7C4lDwyYmG7thPfW5X3/TLNTvZZqdYt3dSXfU5CWuPYgeRZpZ6qXgxcH8ffSUXN25kMTw7osRETChW+Sa6ueFtyFyPxDmMR+s4cNMwma969Y1Yo1HoRB/W2CRtVWlNIMeCLWHTm+xD/Qhzox4KeP5+KnUU/s/eyJ6DktJHUvPgfkk9KhAiZG2jSStGkMoNFEW4cQvkdiq2b/PHok+fg+Zed9nauYH/gC9C7cHY+v8X9obiZ7IQQTv3AhDOpudVAThNyFN84xuBt3ZNtwJIE0Ict6IoZgRAW7R/iRh3n8xTPwzJAbUOqic7bsmCn9h2aMgHjKrQ0oTx+ZV3mbROz3Cb5h5PvDIjGVrBWdu9z7MvYzXb7JCYxgkA5k8ID7pmYWSX78fjmMIDFvUiVzOiTZt7YMpzsK9STUdGsJ3KKDf6F0gHzRoFeq2VcDjdZnKrQKXU+OBb9+UNs8wZtTDdy6t/1pjmkZsPVRxPwL3xWZdZDMlhiSnA8eHLzAGBfzyw6T9C5YmS3RGnTeie2uVWdGil5sicJ4eKFF7MItglpgNrY+PC/gnjO//J+OFShDDx/n6gvJm+eS+J3Rdab34ahxlO8CHOVUit8RHtISwtA2Hn/MjDnv4m4Jaw6yJfzJVrEDmFIrngH9jDy3fgNOjqYr92dbAg/ivnKr/GdW2VXyOa8g8dXZ/DCzybr1A4MEj5dkrQnhqglgI4EZWVsGqTMjmSHvQvz9y1GH/D4Sgfxwu6uRArAkGLCSSwG5OYHdxd2C7wXvkt9+beW6cS1YNrZWBdOlW3ic5znvJ9aOJb0Lhc3p8CO4jO+H+IawCyr34QsvPCAAl5zQU+oARsorEzzysmVW8QIPgKR7j7Hgmm9QuPPMpreUTseb4NOpqamfxReeRV3dYK9y4SJU98dDyLDKr+wutt8lJT+j+90pBdCOxUCs/ivGgdY+niuACYC2Ztk5368nuA2F3PScRcbVQ8m4CHCeOM81/Yjfvkxi4tpPw4TRQvtt93RBzAZAoUSpSvskHN5uTd75sJuTiXsb2wwxjty31foty8QvmZ+pEYrtUCF2aN9DQfSsDVfiUhiYKKrxHcGPTIKAMpd5UlHMUdQ/ldj0sMcjbuvvgSAVFcEXm32QCHEthhWz/zriiHepmvvC/L3AoTY1L4S8MHxAu6D3o3UN3S+opBKu4T9c7ZPiQpZrZpwPJwiGcIL3PywfLYkOSHcCpyfPoVHMo3mYiILDSQ/957sJqni3v1BzMFdlcgdBB1koqbqg6oiMeUAHIduLex/DDLdVcXQvnMDszZg94jtsUUtaTEzb2iDxs0kFFCMPzYGwICPybd19U/KiDS8q8fwsFpLxwbqQE1AUCuNS3YQEKkFV4WZLTKP5CAWLXlAfQOwMvaiQl3TjvfjCdTM1xOJk0FHESb4Hx6L35lgRHoPyFW4PMUJZab2KSu6Ws4FbiKNUOzx+2JgrUFBxsjAC8dU3frV5iZT/1gM9e5ytpLPf9sFP1UnWaJzg6LGToBptN510LIKr9aNrxRFuvaUu05NE8sYkgFhQpZVP+cqF1Ve0B7M3dsBlc8PQYuZ+aUKzdhHAuon7DdwHh6umTnVTH7uhxdDUip+ChLGEcMDxKXNeHzJCv+TIBAE0mwRhCajKh4ySRnNt2Jo+UKLOR8R32SeMenTg3P9SkM6cr0void5RatOJ3wWViLAHpSdCh2vDc2qvpFlNSrNPvkBGAZVzKfR39j0DhlsaTb77r6teMttol5Z8Op4wnFqqOWdFG0b91PqdJITye/ySqrgjBbETbkVOWRYpoJcRlYneUZZW51pAYKlhDwaev5wPaDJaRu4kWutIlTFwKH+VBe/GcjXK68acfzEhDDS5pjgDycrBgoknUj4CA6hrlatkjY+WHSSdXMkz3HTL1jOBw0BAA3SM65+q79y3blZOFSgz95Ljlv6cFRu0xDwbIdAc0W4cEvr1RiF0sHj7d6/HJLFv9OAdM2Ow5Pa/tRHjvMD+Dze7JSB6jfmt7CLSsR7D86Z16L9dn5kvlYeyUHY354kTbAGl+KiBpM3g0Q3QPOJ7/Cev2W8nToJhEtu9bVho1Jx1WgbtMtrs2RIyVL9AjA1XxA4tYDBBMVg7DHkNbMtiWrMbxa99j5JA0Ix+q1L4Kw0hmKzQCeGc1va8TePA7AMjrk7lC2O7zGSy5B9LUc7g69Gt1rTeVIgyJp7q+aj9b1d0lPl47oPcQiguke2OFr7oIUjk0CXEVmBLMVywmznRQSgVA7bjxERbETxJhqqxmgSw9mLVQAPU89UZPyZZslNMmIi4tZbsV0HUxm5a8fe49+SjPn07uQmvC9Ge6G+uc07onAm1R7bEk5hxQoHXnwCmrWuJk7NqUu5eQRv0z+T6u3y1B8uVWWAoTXgV3tNuYum1+Fm/WPS+6zWJ0ukC/6x2ZnYIKk25ig1MpHuAntl2yKO+TnYe59KlJ43yjc4f/0S+kAnjVGqs/TkDzYh4b9PYiW1jKDtYyLz6k2F9s18C2tKlPdNTx3cxHP4As/N8PGV/KVbOcT3vRk2LGdVENDA8nENhER4/ds85ZEJGS0X/o7UUSowVxsL8iINfnmMkgH411619WIomA6+8HDie5xWDs1x2l3koOD/76vYyIjk9lpkGms7hIozoedzeUeJCtVjnfNuvXeeSdCN8y3IDBmKpSnEJEWDeaiJq8sxjtlrYDfAXAF5+KuAB3xsM2hqBOffVdCxMldE0gj58xBo/3iVfuniOryq7jbQqZgaCru3eapaSqhKLgjWNRlw9yG7f2kLW7wyr5xNaALBTWeLZhlJV32+Ji07CPayvp6JzmA6SbOAs9PXxSX0+PF+BWbUeOpyYYkIetWsP9prPsrwCi0nOtUqbdtOVPlyQEEWiYBrrNoVmEoiIW0YkBICSk1xUXKv7R5JBCWA8bwRDfUCnXByl30+m++HrXAgl3PbaKLBoVJwdfvVPJfPurOQn6QSgrYtctS7R+WvWFh9q7qrQc8dShLLJCL6eZMb0SUiSBhZ/oBOL1f4HjKQCka4hMaDEJHH4QWZugPdkmeZP2XcS+5n2FG53lxKJ39ON1x3SwGTKZdDvU3jjQbVuDOxD4WggueadUPT8YYXOdovd9LPWlMfIPlMpeTtjDqOcpFYAQ2rW+Myn+QV23v23EFklXwpDalXzbZf4vMQBDQcDQ/NvGCslGfWUxLlqlkcFcgGcw3cO1AOjBNMj510auuC6gshLyBjKIL6l0J6NOX5soE7c/gtKTtiapNdtu2eJwkT8NdSkBqG3z12anpMCz9nFJJSVTcSqjsyQhvXHI9W9OGe79OWlc7tFIySFgdteymHfCzrEjZgXkSmVPIpzwP+132MD9SQtHYBaLLf6RlAFiutql08M5S5MhpEZqMwBnQZv6H88CogA0dUyTdmR/twuP9iwCgfTCOS9nMauu5Ppp3s2BNXm6lX3dbkYW2VwErVa6xLT37QhzhE3NMkPmsbBt2SIEeyjcRztXXkYnFFERVjWvG1ITKm455QAW4KkuWJ8xJzvvHR4gnPASa9UhbnYhkCYUy51CecIsYhmye/ISRnxC8dA0UBs8WAoiKsfVuuM3R6stu7k1ckmCPkqcRCq8Cq1itTRJByBuHRtzCBmA2gkoV/4wymwd/b7nrHADo8PDxIQE2/gg6AbwBprVSaLTQc984MVjbnlz3TN+5GCU9P/djyLn0h886jE8trpOXWABTo8lDzNJ+UST8t8Tp/NgUHbGFSJpQWX2wNieXg10HtHsVPn+ZkLSciHKH5yrnIr5205usOh1EDe1jnvdLNSvhgV8z4Dz6faY+ZdIliY/ENzrCe5lBg1DAfl0pPK4WvCNa7/gkUbrqNR3Vt42w9JmkuPTXNT/I62fYdf1q5YIMNHCrpKKEy/MTWMvTOFQ9EnHPqZprtfUlNq31/9mIHbizfe8DBwnUfPiNXYi+NVmRiSbun0E8XGlnvzX3pNmGqEslwsVc+eowbI8BFuWeGsj7PH34nvAQcheLgVyRyripPQhT7eqPApBNqUpLSKTvbnR0zQRHi4nz/NXsh7dDseemXO7w5djdEkABq3ImtXUjQSwrVWhTbAHyruL/S34Q9npJFozn4io22XSaDEqlMeWp2pNZLforWsoJpSjSYrj2BF12V1ql2MqnSalIXFeG9FwSKLVPMUM4WA3+EhXwXjhWDxf+gu5laskoxLQaqJbdcXkf73S2a/DW0/6i/tQmiAB+zY1fmi7kN0Q1yEuArh6Rjkvr4iVCx4+/Wif/bsfD0dJ3Ulm/yCGm6Gsl91wrttg9uH31SJjDFvAWV/pSi5twFcGAbbCJfTMNy2vLCnEXuw7SQ7vhhmJOfbFYYj6lk2jghMmvi0vYuwH/i5cjUP5IlGLeIn8g+OHGDqhdtSP51r+z1D2OPIQTZcJhpDzHCSFUMi1zzkRho+cMEzqI8xq8HdQTDojMpl9IzXJGWZSCG3YDMxmzP0cM/2ZItUoDWVJa9Up2/RFZ7YgkcDijmR7yrBPkOmqBLQMinw8HO0WR26NadtiLhl2ngVd967vMUUflZS+MSxrBx0/jZlCLDgzPQeMLBRta0eRo5KjaaX1cZKDoNfzzpkn1NRL62g/+M9KnEOk+JqQS+sn/qZJTc/LzxTnGNG2n18WLjWnWJq0dUvFUYAORoje+hutVoq+dyF6fk59j9NpInD1IHyXCyrxQJ3DKXQSurrJVc8tg0RfuoWE2f+zH7Gm4ilmjsECnEEi6HBcUDlzpgdWCjWGqp0sshLLZ8Xdo33OZXIEzOJkM8LCYsf9NvKMYhZCFK7HKZwodVKKDnm+Mm+VOF0rm5rWH5cNGVdxKAIVJRRAiiDhZuBHO+fOqxGOleCpBIBMsaJBgnzF055kMsoVfrgbHxUaac+Pv9G2V0q2llOS4KF+QdOygrhB3qvhYe1qE1T1xUHWETAxScuN50eA4HQfjRJ2kI6gvaI4+THxW3vsWYl+yf1b3P510IttVU0WIW6Q3XBcOE8f25E2Cu4Q5r0DJHG4BJjc7RikllWMpPG827UUMBciWC6IZEMIamGWf1IVWkpYXT8nP20s0kEGOnwVPkv3Ng06iDyCHllUGw7bdJsh5Rctojlc+aVtzBaO0Js9kkFou8Nzap44iUE/YGxah5Ks9O3WII9NIieaWFZqSNSkouVwmtE0X8HLuENTZbbbkzDXgU7eR2MPsUiz0nzIUamaRThpuBgzCiEQStGM1SJJrwGYaql4bN6YKw3z2mXQ3VejvWg7UAgy8sHDF2T8qeaQ/WRUxqeX7yKFmlMtadTnfeby8yReUthUr4j2KSwzEKSAHyOxqK1UgI1RCjERFdFb5cEY0lBBrFeSfm+6aNK4ELa6mBnRFXEHibjapFpG4YDNF4tclTaOhgzozp1THES6duQ4zAj8bfeObO0cOLU9uEvkaUHrs1MIojW5ePcK7+RyZP1h+x+U9UCN8qBUEqCuflFXy5UYUSFleWxt8RHQII6/B+ZPogL1Cfuvq0T1yELXLXxfFDFKbBSZjwh9Logyoy1+J6f1lU2P8LK8epm/7zdOgXbYW+yyDd1C8R0dWmhlLD1goSyjhm8x3Vk4zaouM1pkaM89T3vURDeaocGG7kewMEZOdnRFkLutiKlLUNxL3pyyDuNcTqKZNMssMsYHjfpoFFoDx6uEn137azQxpRTMQB+5Nq75BNfRT2QgUOQ3F7BkmtIUeN0FuZlectTJpf+YNYrzLiELQh/5CsUKJx4DSVQEEnR0wQVqn2Z4uYyIDXYnkzmjWStvYyX7kOx96i4j6AQpovMKBsxjVMdeVvmLZ7HvXKLN2ir8Vb5GqQPrr0eQvasQO4HZiCm1Zj1uN5cTuuBvuBtoxXwM8zb3hI/XHCsOHFtWXOXBKnIxFF9+d/qVZ62hh1peeWZdMON+skCkKb6/j5Awohh8njVq7VrlxMAOx32HyAeagH+tMAyuLzIyjjDBgop21By1s/ed7J/V+UmrMAzms8JCvOZKbNTQu0WRt9Zs5iHsL5nCbRr1iKwXNl4PUQ1O4wDqwZag3zrQJReyCfkSuP2/p6asZylewL+YBGFB6KiHYMWxQfXpw4DI6uQd3jUsOpOFo8O3HNf19BK+cqsXQxfs4zrltwa/5VNgR5H3UO/qCFWG48STSLd+Mn7RyYmnHeoupAM3P6I431YkZRF3PCAw5mwxUTnMQAW8rPunkcBtXnrc7xFZz8UFPqW1mxPU7Bq6CO2OGOgmd88PXYZLQc7vcFQqZY8SEgPKCWQVrTp0GHxJofuxnaIrtN00BEY217lr8VL1x092nOWEpCJDnKeXCOgATj9YPbQlxCtza5txtFHO0rnzoxAUksMRv8IpeQxTUb5y67NAdz6rSjoVN6tILcDdrNtIgLd1XEM/hsaryofebvZGPhS4Iv8KP2N2twfXUEmIU63LQ/kF23lmvBx9TDYDguKP/HoFXYC4ufryQb6tCHlMNtBxXZmy+ODfvbQWD3H8wGpp41wHEFxfxBaIegTupLqHomlegevhq6rVs79vpTnVLQRMHcsuARpF0U0TDifdBiUGFv74UDPjnP/9Bl4ncdw0SJNCkziAAKFQ/aYLhviMplJdbetg259+vXlBw63ZwOxhe3DydthG0IcTradczu7sVcUang/LKBMYf8a1p6u3nYS9v4FFlKIJ7cEqFgMKitDyt6oS12VLrJrGsU/W3LcXqKf4l4/OeE9FJC3tLtlh3QnQTZb8Gpz1ilVMkCP9S4hMSJ6zAtIayW3+6b5h1scWXa7yB8YTXckcwA8l4xKEFNhleyjclbDM2KroGKYavqYXDZppKcyyKQwKMr7fSsQ9q+xwfF9LOPnlKfzQ/8uPn1m/0vZ1BUHQVBJmOgnE00NKPtgcyrDDa3wotBk7ljUb4AIqIFHTsxFlKib+YZObk1Vhxg/3Y3r5vdAgFSz7ltDnGv5hh/P2xIRZcF80FP1ieYaPK7+o+yJTSke8/dYGx1WAUVRvxKH1iUjGalK4TlMxEPS29EXWVGqCLXLksFIck7YJkK697NzbhID3KhUq1WimhRPmK5SLEF1/IHiU49ATXTEHgLqhDnL6mmShascjw9XAcpfeeT4HJ7PG0ohh7jLm7K3JrDVG+VW+Rzf+yRJbRveUDfo1HqJlhttWcl42Or6BOkvuioJ7Nolrv3Hq8CRVMLzRBYm2khOPEYLDsvWGDVSVx7WApENj0y2rHwSh68lL7Y/Eq51ylTVLtKQvHWnVPdueHOXkTCl/GFNJxt61x1zXw7fRq/CWl+FfEWO0Tb26R0yM5iV26vbeE13yys8FaONkHllK0eP7OU9VoJ6MfRA/tZl9MWNnhxhJnDGrBntZ1R6qqVcIhL5dM42GsGNy1lKsBz0n6RwK56QbsQ8lv7ytzXi4oN72tEiPoPjW5Ua+BWq/CpgsyX40HIkRg8/O8qssAD8uVi933BYKFemQ+wZkMeVgJohXSTwZpV9ZySxRqYKUu9No1goQoe8I2nNoMohg6lYkOJykvJFnh6NEDufrZ3xyTyhR4bUqAKhh9yenLoOlW+d4ZEh+FandC+nvKn5gOuWWomzHKE+7yr/+FByulaDPXWFGG4iZt3wVqh+609rZyddFqKPWcIaj2zQAfY6subGF47hCGR1P7OrcsUCHHh+IIj8b9Fq1dTCuYq1iGuiDq/QRaueAEb3BK7FkuIVyl7vlwnfQeTGbjUgUbdqtxARG1thiD7lrOQ7KfGulBWJtil3FDoNWD4XMZW1meKjgtYe9r9ijbR0VAKUdLqvYO9HBOLq5bbvLI7VbxdSPIw2huCsbHxsRE4hrUICI/qPAWvjlXb0/ShsSow0hr2z8r6ogzZOQLOjsRTFCdzOjGiKXwL71jFhCYNmu9hfc8jtWMcEOF1RMYMHwkXlEQF9TDUpq+DE7NI7gOXh+vfFEjsMjYnGEtuTLGLgcTEkWcWWNURgo08bDC9PcwiK1kDe59SojrMC8FoJEGfCSsXOkHvMJ1UZqJkr4WfuedT69LknuiQDeQHnjbVkegRDjC4mALiqm5UITqAQUr9mimx3GqfuEbRpUKEZgjjBJo1uF2mOnTJROyN3SfsI/WMABtcBm+3x7FdkV2fXGnJaYLCKprZIUenVzGkK2g+gMqN6Bu3sVR/lTSZF1bLpWFmF6G40ubmWqwDwKDvknmwRvM0xmgEafmcOCVkdMtwX2TJCT3tscmMA8vLx8T0D6y0+xC5h8zpw5Umc9dwYgymrrADog6UGkznHD1B4cFaUveX03noD1U4YEU4d3RlKRhcfH09TWfZskwpEJgWMwSVn1qEtITOdVTglEgWIQKTo3CHUzfseQ5OBOB4Fr8zcGnHpwXAEsg373fRFyvrA2Sw5XJAf/WSqrBfTVZvxzsNkI4Jb6K4whDsijHm/xsJVlKp3E+dTdHvM1TZ3qVOSlEup4QMe+stxcDqNo5rPfRvoRqfOC4LGYWe6iOhZNbOTeykfPW8286cCefCiyax4gB9cTFGgUhIEbeDPiWfMywNJPc9yd0leeZkZ9JK4dr3QwGq9PYybM2OeRHDOjmEpRHcTDSlM5bB37+TE3iqLP13CCPB76yPmhLooLjS4uB9Oiz40Ad3M7IRWCpWqPCsG+FZzZ1pqtQ/sHpbQl5Pxwp+bBYor8xFdW6Rp/R9SXXfS8JWz0iAHp36FZZVrsf46WUUi9LbEA+xpZPw5WNUi1UboH84lN5G8e5HWP1dszwAe/uwQNH7Zn+NZe3UqymLKY4PVamQtJESbXb92VwSd2hUbCTO9Voj701EYwPNwy6994SB1blkFrPWVG1aqndO3Mn0u3xo0sC08d9zsoqjGK/Cs8xQ8KrOheSultsDPhVQw4l1Kxd6i1y+9/BOXRXh6ZXLJzYzwOpf6+fHYiB8DlyLpnixSZlItpL3VCOqHxIgxNUryX/l9Urj87/9sab8usM+prSF13yVmDjDSukEl+Z25Wkei+u5LCwGRh7gtIdAI7cO+/cKqkOGu8Qzhz29I/rH8k584nPfLggAXxsna/oSmDh8vQTqgARBheV8FWgu2LkeeKuGZ6OiA+EnQdpR4lSDOGhtW9bW5vITmk5MzWq2/E445B30QW6f3m7IXrAo9cGKgDneovIYx95EvUXMhOW1WY4mNVwOB5BNWGLsDwtZ6peldhCpnsZPHX5c8h48yAJh4QYUOOOXLb1028T7Vb0N97ffOVmuAmb8ZidPDj5TJDCM8qTy+mSGISKqmGWorVbDWauRfRmlgUwX/M8mETb6GDVXUsW0gk8JRprf83K5ln5Z89tCr0eM+O69Tos3c8INHCpDbJmBc3BwS3JmR3eUHfEVS+YgCB9MwNvKYLHfOuwTM/3EAFoJ+lZyF0czWofBm57Bppv8FZd0uGo2RNHOfpAlKU/s7BT9tqJ0YJXqPDncbNM4AXvl+ByNy/he431AzKBCOJCir67Inc/tjCpQiA+57RbxD/GB+SG3WK7srAwf8pGo6Tvu937obq3xKo82/vdYXw+BPh5FbCgeoYxR++syWKoDj4YGuPsIK+vdYml4Blu3qavAeWxD8Cyflslda0Plvw7ohqizgBcwtsViPjRc+cyCexVCR4a4AmlniOsIIxyikRQYihKI+HtUksxzpZ7wJ2gF/oOfJlA3y0hWy9XePOTsyflSDryvUrvPVjpiDi9H69jyYY3kydElceRHzzTl1SoAi02oZn1JjzLzBSw0lbTvFtYRLHudAaRSHfr9wqfzptB9K056lygoMRtKscVUKXkD7CeVhv3jWp0E93aHfzoDWAZFNU/XMd4z/ZDcjV6C5e+Z+DRtAVg6zoRTaJ9EszrvdLORjBp8E582gnFqqb1mFn85OrdJ0Ka4+6e4XAs6hQ5F6RfC4rAyDCwbFvkXpliW8dvxqV7VqG3/PVhkzEsIgy8snGCcc9hek4qP/iWceNZOxHdyfYWsWMkLWozFhb1iAhEV3ifWc4r4o0jP2x0c7Oe6eWuqDzYEGBfSYDmFWj8ayCoNzaFLXBwqgR/5dOrBUdl4dtKFHG070INaXXLf7JcjywKMcjl4V0db/+DyomH/+CbQwkNTLLlNHiIh9xoab8+C7xWLOQq+NCiDeXUDWLjLSOLnMXaCkTxr0SQyeaAMk+AVrDptFCMEiVnfUSFJJiLytJNH2+mJbTb+TMvWivk2VrrfcL+XtTKhwMDlE7h/ir88m3+WzVS3azYWC86APg17OQUj1xbsY8RJwBsjFuONcZ6VzH7H9Wc1qw2flEo/bX0MUHWDxVwwfZbXMlIAxRx7HjSO4BIck6qNZ9mfDEdFk3fyQ5Uy2aRAtmZIt94po6X/6ShT2QgaO8536AnUUJGvz97bLFKwOoXvnsStNPTdflW3GpJkCKgO4sbs553T1MJd3qsPMSJFkZ4yub5I1aOAEd+tUGV+3UNL+wMgOTb/b4ZAjQSu9BE78aQ7FwdZmmwFj2tyGAD8MgHw0B1aqkpEoeSP9a1mYnJem3JjM2fCsuNhuH0PXB3yYkH/SSVlgIPKSPPTyNTqXBYZgn+gSJzS47us5MIjj4DseR3YotzeP/GWuUCYprLzEAsZFmbPo4VmkbOQnS57VGvIBG2m4d+g1ibH6MVVkOdcZVFx0v8ykEnYcrgGvD/k0Ivtz90qiq6RuBXI569kAtaY8EdKGPfCC03Dv5+sK3B2ethzaAakWhX5f2AvUbCNiahOv1XI5Gkgg3IAJHtvaiTTdIcTWDAwu/7eNNLJKHB8TOwHUL4fc7bAZFL0NucGuKmfWgu63+IxgDkTuyjry+NZm3bnxqD2bx0+lL5VCzMZLgscit05Q7OSB7CsJaIHfBZTHd7J5zP8Z+8SOY2hsI88Zvq4HL1twZMZUo+10H8XnZfgx6+HdnAkL10NE8ETny2V6gpIFRC8ENq6TqlyK6wcE7TE6pVgeEqSJ7gT2nmw6GQDuD6TAlWmmtxuFGLQfOaU8Dp1k+wMKj7xZFgiR8o+jVQoJaVQF6y8HquUxd4KEpfhOG1iu22PUfMflhMxWceX4u8u0GmEp9zJNUzguLegfCwNx6fxFdK3DQPEndb3Ygg0ev/FKhNCkdE0cazHq1AVkNO/YeoU5gN5ReQOCRCm42afBRZRCNkb6ODaWZmWQacoI5n/p8XvcpdKwKYhKE3BmU2/0kCLtd1sLOjVSOWFeshGoGvPFBxPGXLghEq8AFM2oLkQqbGRl22TzDL0+EKrDVEyXrM/8Wb6xXn+X7vHvQ2cLSuLVszoaN1Q0DbzX6Gu/icUfnS4R4Ab2cCuh8i/5Q2e0P7E41lSTjmRriTC2FICQnq7iBAptMB7MafOIRR8cJIrFyv4UCOUUoXfQgwlCMZT75EAa8NVnN4WP9j3fg1RP4WULcEkUlp68Ne9YjObdt7qUbPa4kUyGe10l3hRBA/TzB2xKI2iHy52LLgkBfgiinXtJUMX4Q49qgJQItut/y7ohYGeHjjrUUTchzfUaI8MB8ZeAuLBHcGwg5QHJj3D+W53TUTfWtQJbkZniQTNGrc//FM0R8olLnMdrIB/0t55QvOIwpj1FThhJSmvVwjZnMHT2gaVTQOaT2J2Fv1lsVeB+0zrHJ8c/nkWhC51OtP2V9CDnknTo+xY6lY3whQNSFtWxv8g99fbF1BFe79e1DDfOrR+gRSPx1Sdr7P/yffLoaOGDTAzqBAJUe5kCF/XWUImqF0Dld8Sw6dSD8uN5LQ3QVGLvssJdEN1ClCsXnSfIxE027boIxTjNyXDuSEeNj5AWgbwgVa0FdwPFdUlYWgtJ82F+BmPjcHP2rYoIT9bDPuzRucloPPKj/A0yT2VRlUXxpCK3u0sPEGlNLWYo/P8f22b+scg2pX1fvccYQQ6wsjB+cIlaEbUIQd3gAb0mEcxTc8wQt1/Ar9vTdntseECdYPDksCiS0v6xj5tjySn3fzmHJ70/Guz0GMXmUrHxXEDMCdPGNgglCLcZJqyFsUAYLuCXaeyiAfPDYuaATMdhsqE/3NcBeFQQr055eV9zKUWZ4Svei79L0iMPQbbZHr+C+3WK42MVWSEqtLXtT2ygR6wIhFeamMSLM6Zn18NcjR7M24vCLLU844+gGIjGhlps5F+kryci16Rhn5QopUx+llfKBcojAOas1BgPWORKUCRKqpDPQ93agf2RRHxVrT+8Rpvvo8JM/yjjYMg4QeR4sTbMIarcTVZ1uac5F2AMEBsnO+UPQ51CoUsHHPwYgnBmhoymc5EoLkxScabngALCnGlz+oCVXrc1BWnyDc9aRIt42OLWpkecppJLDMRFJDzabcbgVv6dj+sfaLd8NW2jg4qNfHg9NL6D4wUkpxPyQU5TSbmHpgosxYOy7shU+Q7tQPsSIZeM8GoQuPHVuUqFSLZOW8ZEA5FULgpD5Z171YTuzFj2Rs7Js04Y2JgH1reac81dcw5u1sA+dl/I5g0GC5vfJXm/lN2p7BKYvnoZkuoEb9O20plWtjU2JcJfdpmbxTKyuQalqryVCkyNJeNszV51Btl+ZjFYrErpRtEhSbrxr2omOFeOHhXeC5sFHvezsHicSxdYB5CBpALJDQvQZ5LTvRKWq+AmQ5Su6V9CqhBjJr6yQSucKfLP2XptRhTbTZXj/Hu7dd4eMgl8dghN8IgUh3PXmN/ANZO7AWHAYQpCVF89iY0oAyLHQafMgQ1C9CPVv7aENtEN5r0qLWP8T+TEOGolgPCJdzWNiV95nYqX0886bbkKPGuFr9KonlSfhA3T8gHPK1T0/oUPqjszAM08ytks5iPRK9CbaKNdK1km1TjKerabGi6wU3Y/bE51+USGRrLfhLAH+BxwEVVj+Qw1VthCL6GS2uiUwn/bSEyykVpHnAsFdaAlfqhikmDXfFFf+gCCE8/Z/q/okwHZFcx32kem2JQ4z1Ecn6w104HnAt2QK07SAx50Ky0/61huvtWMtPm67fgsnHZ/seX1zeOGy9bd2EtsAvmMB4YVTKntSX6qtUYVeVFKhkqcHLce+9MDRDXbJh8MuuSf7eePc60svgeRhhI32ECHtXcD1tTXmGWpYprWMNgxQWOa5S7jBxpNiNnjw7Vf59q7WbvvtJfG8G+7ITtCbtbILGnVHb1wHuQDaF8g6wLE9wE4EzBvLSmUz8DxLG+7Pp6VY24SRH4iM2igXkcGGbvHmkGbSZevbA6BbvdGlEHjaMY2+2nYg1D4ATP3wnzf72lz0/64S9kyuTzmOvEXTOp4E2dJR5YPxJ//5UeyNtOvRYu7aemK3ygjJmO5+PjpoRDs+Rzk+oX2k4h6qPJ1K+IQgUAPBdNjZIeHg4I0VWq9JAw0zgkjDpFOcCmyRljNTqMF4iRZjUAohYr3hft1W05XuE5WURwzhywYOuZ/Ebj4vvUvyX7QmZ1/GaBXF/7cABrtv74eNFN9DyvvivzbeXYOx8PqE6XD87w8pzHlIcjWNXewGNmln8oCGKme1uB/aGpaXnFVEqCS80qPaN5yTA8iOA4DBKNogjeau4EB1MNiTJx5oxfl8Ku/o8kF/CQRNPXLdRIDVgKZ/6e7eJIZdcHBibhpn5bUyHTW/63OP6PaSOJZdHO8LySkdzZcYecnNC0mWa1N80/UZpYQKX3NIfvPnlysoqcfyl6oZaTyrKavfbY5epIMAGSIB62+zFGDG56oeiYBh87mEkzj+8OqxnbjI+AOe8VdjwJp5l9Yp1KhE1k7UiJhWrTW3yA2vGi+ChbNB9S0PanOGoWwy/m49Mek+PSelN0dIwnJRvjhp3gLw1RHMjgYjsdWGCUjYzU10FMOd9lFnHXCmPgGBAA4DxFDyyXpsb0o2OxLVMXlMiLvRbZV4ob1od/H6S+/KmGVLOQb2MYD711M87HaiOqdqdHqptpwX+US57DhmO3mD0fLkJOYHkbCPkNoNbsuWA34nU92BPNEXzqF8r0VoHSJuV+AtRBPZGlDDrjKDB3Sgu1O/AA4P0DOvcrOUfp0PYnWCUMgS3RGAeGm/q50DSvbgLukd6ZHFBhSBT9VgpdIbCuebCaBi+FNM7ippxn/yKPD88mhOeYhHntHqmk7YOuoYyGq0ZjzrY/J6Z5AEavS30GJqaRknXLbDPQv0UfF6Dok5Gb7qfuCdApf3BBzzYyi4DEH49q0oO7iC8rnhbbvP45R3DaNUowedNBeANeR5L/SAJ48NJOeIlh6d+3FOoF4XGTGZCYCURPvfF6wL85Jp5+hK2ilG1t1DIJIGFImCZco+XgONPzFlz0nsetOcOH8QzFu87WW3mkq9ufHNT1WA6ButozMv0wagkd3DSGmubA82PhcwlSyE+jBf6T4YtIhm5pp63f7c6D/fjabxBEA+nvZsitkjDB9SrNuNlBjqjQT9IuFzYTGcc1PNOxE/ytlgsiyCoBxRWXYHaO60RXCteywMPYc0uXomnjlEMeDYNa39K+V2do9r5D2j8lg+sH1MGFDudfwWlS0sd/M0ghCaDSL0rGpNDbv2ehxAYMudor+cF73FQgQfQHTlpFXRp8TxXvPBhzZ+wrb/46Jsz6FQkBewHr2TTN35FXsQAtRiyxZUK4DYhIACvysuGupDOfNJbbB/UU84uOAxkwKkhcLxtzSOoldtSD33zt7qrLu6sR8YpuVcjdb8HOBbslmeFoW2yXC9gYVlo1jLnyNJIacq0UFvSyALh4oz2deBDM0T5w/3aGqNHL8wVf9k/ZhXJy0rkxNbh3IJEKzh3IUgfjiNP5zDrop5gso9GfN0+YxhayC9Cs38ggntLu1kxM+npIs6lvivvW0WeUHjLan5RUWH80UJiW5xBx0IIHSTEuCmUX1RJd3FUliVtLeL6ShHh3agIUS8o/r2WBHZq0WLrS2/BqGFiFcyzljWQQlivPExn/D63ssKQdoedNyH20tWFsoGT23qTWhEaDRNLY1dWGdl4BYBZg0whwZZhYgOcJuMHmQJTeUCk0kdGxbLvA5eHLNGubFq/n1inaAV0Swuxn9zOyy8jyT/L96aNj0z9wNQb4MKy2zH56yNhK0vFitcCjpFUBnPIYUYRXp4pd6igsTiCtXkumgV9lDUx5yvCD+rlvrnYHIkhBjTYEmeYLNfp1AKZDG3RXcWVMny/OiaGmQIwuxmp0ZlJCH/QG/OWRpFDksC2zLNTxhaFtQ6YxEXva4ct6OntFupzV53oKu+K6+7mxdnWw/NgXh2Uepu//J4SOBNe6pRZzT1RGvH7DT4NlrV0//6E7YlU2VyOlqfKtC1oDcjuIFTsBboNsD7G2EH3bBav2wuzFgZ/69BPTtHqo+lA+dUjOYrsCFAhc6tbRZFG9i3hxy/fQMPOFecg4VoR4aQoLrgufNk0shRowqI9QODELvb5UBjpog9uSMjJh6Bro+uagIgXT8qCd2RULhj1onQpvIiwgOumEJ17MnxQ3pFlpvB6got6ylMZi4C5l7etJdODAvgOo7CUBzTuuqIqM47gRCrKE7r04WnAbQ2vJMO7Ou5vZstfubnIvsjczLzNRpTL9z0AM+UsDhAIeJZYgtCH+8Ao9nB6QhFcQ85l9VZtQasZnZGp6ZMFRd2d92Dr3xxHWTELUBwemZGjSkUQOYfc7/r674JHiUeKyRJlvDwhmdi0S5gt3q0AfXjkuG+/ui76Ogfjn5Vg+3aO3ksE2VgB1nszjMX2shz04YPInB7sNgPjinh6z45X4BMEBjnn64MkB7V4sCP+aw412aS0+SbiQM9zdoJoeADah/f4v7+/e7ut0cSSrbATEhnkxxyhsz7yYevJnsJN94fHaYKa5LhkI/SrayYz2oDeGnZmROCH6d/Va3RcDwydNSi2giQJ/JmiLtOv6IXWPL7nb1q2BmtcGjkJHPDQbLmjTuHJyy2REllEl7OYiEGGqUT/pdX7WIW9R1E1gJYWFhedeJmGGJbbl7fXnu2e2vvmNbhlvthH6fm0uZ48lgUMp9i4IVMUzz1fpMFzy2lHAyaJNVAv8GTcYoIYhjT1z4FZyRL37Blb7g9eBiloKL+5pAVFB3wjYaRPif3JqPwnVomwDEdljC4Cls3shIE0n27/YYKY8xXPm0yNNz/ZkTVu562yVZZhW0xKryftbFNkXzzTx94pESOFBbI4V4xnvDKsY+Ds3Sn+j89Ug5FRKUjweFpMCv2mtLhPSr80+XaX6jhjGN3hy/pzal3VleBqj4VU6MKgVr8XNsuisoHs2LSpCqp9GW0Dm9w/zJ19oUaTsgePRe3Whso8KU43wQH1O2ZDSaPwI0FgF6WwpFofcAuTACMg2+Jy5Fp0NgQ0HofjehvDULayWgAqjz5XaFrFzcwuEb1M/JNEYhdpxf6YrVyh/Bq703izZ8WfrQ+4pIAPzNrpwL53y6YXe+IRFENMrPfJgfvaSVVt4JVxoU9zGuEFkP4l5FQt/HWv2fXBaVpMHB1WWO4wUyDHK6P27Wpphpc6BodPNjAb+eW9/KihbpoFsxPGtf/M+Adt2LKFB5sqoh9Fvrg9JwnwObyTO/4/cs7q+NLKD74gGcBXgqo5B9gnKDwiy74Ph5i1mBVNGeG/B73jFFECSWAlBLC0q5LRgvd9bPvluBivhzbPnpoGKKlJHqrp8VI9PRdE6GTB8Aq5f0HNJlFI1mwM4eQBkIrx1Mm0EiAPKZyWClwKPX0ljmFDAzKvly65DizljMv9GQgS7WShgbdTABlS19BiUI0kGIhhrdutKqXu86vARLPop6YPOLwBhqih4HT+SZd1Yk3J+mpYVYM4WK25ae0BBcO9nytNI5a/pvq1FHz9GeC67ftRWQcRSbE8CvKt7PAMYG9HywfjvaFMRwTmRyXGL+J4jUkjn0XTY262x4liL6UU7OyQwj91vQbkhbjYV9Gwz0KU/uRasEB4wkK7ds5tiqM1wcn4B4EvPFPnRV+6Lw01EjmVPd++fcv5gtFX7klE1ZoQccxSm5hinMCylNsk2PfJFmIWt0GghcxKKD8mAII/pWcURw8OKZ+j90n8U6OrAWWuXsBS3U1ItLNtk06O/EC+PDY8xmVl3SkgaEjxunCigxBWnCM1vCNENb/I2ZWSHSiRyyz0cMu1VkW4/Q9NTad+geGpK60RNlLOkDIIlbOeBjeimiZ9vN0+kfNWvVbnldnKk3A32MLXWFQn0BOkTBVMQf0Q83LkQM82xJwFYUqLz95Q8hVAmW4b4Z8/uoYUPOfBLLNFJrAdlMqu9PS1tVwxlDgtcgD7wl8u4i8MDZnY31PY2S2xuNkV/2hJOvVxCwNhdO+hA3UJgNl9fccKPCC8WhCwhzfCiIh4r5dtDVaTUxKYFwihCGNLl2uHd/VWGqvPom5xSw5vvG3Pe+q8tzT9Y46OchglPbpPsQzpaGQtjMPZk1+o2rOVAZVGdRYScLMxZ3fIw7da/bIAngRAj0v3OIg91UiydPnKQE5xH3JQcqsag6ilt+2nX735DOFBqzakqWsFt1x2wEo3SOAk0ykAM9urCUklwHc/8HtNWArzfgK8tRyS5VDUY0fzTBzRLtG7m1wDPrs+rmKnKT5cUdoBCRQI50+KTr6uFZmZh+o3nUl1PBogE0mVHw1oOne9nz3r7ir9IUiZMNg5J5kgS87dzDwRVar0v326L8acS9AX7aaSRp7DTUEczn10EQjZrga9zgNr56h4u4U6pY/szbj1wmOyGpVqvR3PiHQCHKzU99fbWZIwzNk1CUD/w8NAOR8dU4kDPWKbboxnDcEPII4DYQ/4H+vq5uVQ63iYqkovPAXK7ibnyemD2h+T60dGyiIZONksjYrKzH5GTLgo/m/Sx+KLpYpBoRr1zP8ulWk/2JKaZUjWQ7CLTCcZnAZ3keRXYWBbeuI8Vh17xw+LYUqh6pmTFonFcK+zD75B00ypQqmzvg28Sony4jK1vldxdruv5kFOahBCxthetcJGTZZIgn8pEzc7GUG2ywZY3Xd4r0J5C5c97ilhn+PIHKG6tv95Fh58pIrULwJSbxMiYPWqZJoLvp74Qbn6bEFSSwC2AnYcDp2uWHb9VMmWCE5Df2HvUYWsTFYKtgBRTCERZcju/IMPs5nLnOE34QHQHoZieBZh05o8RSzfXtmwcmpwZ3Jwgc/7J2O0xUY0L41szaWdVvyZ+aznr+rW0zJbaD9/u20KP6RRJc2mopUhmBjdaoAFgS9D8Xrbb68equjRp+veILTz7p+/r1aFck+Qv50aJI1X6eaSuQ9vwX+inab+mGjV+newtf+qpa/P5Asi6RsqDU20iSfuXzyniqLiuTWnpuN4OKTnQAd7/uwCZbYtzBwyZc2oNkqqVNJStksHh5Jy8YHS5HmCw+loJ6iOjRgWmGVi6DyMDO+QCDcrLViUdhHYuJ3kmhdSl8anPP9V8pN4yymMApZATykqcdWZPdBSswv38WOhwWg8IpwAuYPZTYTQJBYksD46WP4YRATalWL5C8V2sdDe9oWnwlrxBz1NjvR+E28oa8LgN0sQ2gKpBp/B7KyHw0u04svVBYTmijNDrrYzuKsSHtMkJkja/ELSY4t/Y5TYIgCqYt03T5+r5lHhdkrDioWN9Atk0v0tIAey7ZgrhiFRK7vDd6RYebvB/ClG5hVO2U8BJWscwFyRifsngaHtLk0mBzIaLkG759oFSYjDcQq9J60wzv24OmJFEOZhDcGDnKxHGrUcZKrBTjv/uZ8f+RKmwNcpc5YBskvdwyVs/lkHfmbt681s6Ln9zsHmWCKvF9Nvdc0nA0+u3+COXXxDPJzv1UEHPqjR3HnZykap8now6qb3za2iNJguU2ZyCOzGoERdAZbOLSbNRR3QeqpPqeS1uxpBgpYnHLvZZzhKiV/PZVD0AiDyG1hf41xZiPT1TSTT4hjo04vqwAfQ3d87seume4KzGm6gIi/KGiOR8b02oYL/P67Oz7Qlj6p3sqejdOaCqLQigTvVnNVdrEydMaDXkNlFoMN1329Z739BsEDDnLAbzvTKK3g+eqF7fUCDetTas0osvzdTYdE92zRZpwLCUeoKpz2t7m3TnaxSECS6nMQxMn3u04jolVQ186NGcjAK+US+8a5jKGKHdmgXXT4HYX5ANsqcX+jxdFDvwwHJQwGr5DU4MHJFyyWp7O8Z/O86UoQyfORbN/NuLrZaKNoKarHI1ofjKtQ41ECGtw2TWr51tSHYuynipan8C/iuu9njEILGLGZ2c2GTub+caYyGNF7QTSxAIaeFI8WMdJWBE2wd/2VRyIrXU54VBAqX9G264PYU0F3i3BGNDlguKBZ6shmleobEstYBtH9MAHevCFjIb/lRmsQQz7eTBd9MC0XWOowtEd1FtLWdibRHUPr5sriuvf7hyIhDgbIonvqiuO8GulY43JM1iLyvjKjR1KjD8ICJJqeHV9NfqQrMrsD+1vaQxzGGFbr432L0qVkLRYp/86ullcj5wW56UEHRk//IQNYuJXRll8m/U2oDCh523W6dk3/sjuEHBS/5Bp6O9MAM7rH4anQjDfgKMAtcVGInV3kriWOoTMrzt4Vp7Mc2BxKMK2PIQl3/wh1zxsvOTi+jHOrBBwtFQsUoLN7AxEtLVWcR+uX+hAEUkC6bR49HnJJS6D64ISN0KYoeR3SXWan56ZmaWxQpm6OoKka3fWsp/aRIZUZ+UOf3mK7sEusOqiuZO1oKE597CxrhgQxuD/QIVzQxQr7jpQHvTIBWd5DvjIdbeufZieYPlKfVsvWRqKinnUt/uzVwNPsiByialWaf2BjkwjOjzxb78R/x+ZY8jOSV6B2EjEHhVxQu1QYmZIN7Tdoxtql/j4DU8MKQKm4ezmKlf3nCmpNgro4pLMB9V+Kf3D1s6+Y2QfK7qOR5VwNUnz9rw12hfNoPYUZrxVlL6IGes1HN3kYrLMkuYj9AD8UEO/6soqYZVwKPF97L6v7mCSyox7hYcZlnhvGO2R8EGHMl21DoZhK/hlA9PHILj8kFf7a3hMjaO+vf+qxmr3oJbsyUvnDUsQrFyrpZ6rLTXJE7UmqryBQDVdgzpi2q3ROtYHpG5EcgxMVCKGnn13Rkd0RLwTkISBh3vHq67pUY+DGYO8pBGlbGb+U3Gwdvkyi7wjW+up8qs3wDi6/nE9KT4Co4JeV91vNPxXh8tA39iTMp61S7qNNOlf4zrzuMQrtphgF0DtmHQ2K+wji2TmgvhqGtfjJ1vumINfntbjrFdQoVHohU4pTxR+G1vkQDafQxmE/c3YRiSRMg118KLoQBL/OBT51FhPEXY05lJdY6w/+c3rTCsMOPdtgLUjOHaKxAWhcXEJJU1Lb6lPZDvLbfd5OrrNvhupLH7BYvCLmRnZfrGFsuy5v5j9G5HCiAT5gmPSt1w3kIoH8DKSh9yoWQX3rWaqAShAsN93G6cEsXxEPtbUQJ/IcGO29Sl+m2mKBT+7eHv9CPxK3ekb7DZ8u0sWQfZv1PggMQlnVIfvMzuOgkP9S6g6aGUChNGY2S4MGCsQkMC6yXkkOSM0ame0bwCYevHZluxfEIp8b7iDkMHO5jiYns9VxfavY3EewmlL6QDxac0OjmAXz1jmUaJq4lTy/EifhYtIUfupugnhnqY146ItpiiUbcw8FAl72HJcOdq+kgzpnbzSiyB48KL8ZZ5b91geEcKr/KX8eYzpkxhaUyvXjue3O/KNls//2QhnIqD69rUoftTKL8BETGzSfSa3Pd3zVXnc4KoIo/w7GptYdtfJ3NYzj8OTUTfxPF364sGvUGjLeLnGln2q1YhTXn6e0Y2drgLLA6DgPnjsu8X7/wu1HCujVOVj2Jpw+txebMfnLDxufGGS4xInsmxQ3NGvWPyDqkWf7TE8n04T9VWyh18eq4fDPOcsNXbctc8AUcxu1TjqRvVVHcY9MGnS9sQQtooGHrEn7SdzOCV0wocIwfjwk+OFPfv/HZVvueD8GNVqY3y82MzXjcBcU22j+czBRu6uW5EDXUW8JQb1ahyH3R3ar0+PrRA7MNxZdqHctGglpnPCZD41x6y7GxNc8/FSaw4uc2qtJjKf+eAdmsWfDqEp74I1vb2HFXnD2X2vbuEbTrLPF2d10MSzFVkc6wHMA/KOveziUR7sL/4kkOspVVpjcV12/04ChcS/S6CPd3nRqSsUmK+2inr+8aUBiKl80wOTo9pCcdDsHTjr1+Wsg2A+lU5SDIGk2maJhS0DO7SvaeIGQz2UCpUDU+Fn68CPth4OHAauhlLIXLNJDQuQ4yG6Hw8i6kQ+GVtbG2ycXZ279x//hyYkEFaOSsMFTq224owqDQzXXjTx3FCU3gyKVhqGpHUBZJ3bXbE8/BJnXqiISwn0DxGg07/tM6Bkzyh4+Voguiv8DbhNY56sRrsHXFN7NQ6sELRxdtXKwWtbaq3mpkeOQ0IDej2+WRFbiEfdJFKcbU0qMZRjyzbt5fn29U20PvJBux3QWo2zJ2ddZ8zvP/wqKvNA5DfMjT7WfoSWlNA3gmhyqkqS+hVKenb2oK5HXaoR3YMABwSHrrcCx8LE0z31WsmNzCDvE6qkIa/2ZpR4p7U5uesVNSDl7pX60zmXq7K6vGFbE7zVRqh1+6myGVVNfB3w2l/9O3oH6gInDqgrRBZfRfZdSb8/cZHSjTqxh+zeB96uDzYGE7pVz5HegA0nTV7yygIcOr/ItYOptPpcP2MfQ4WNp8B1y/aCbs5GR0p+ObWRhVGEvHVwulIPY6zI8OaRmYjAB9nXD4Y4pjuyT5fPulczT6AixEOSImiItHfqwbzjelX8IQBL1n3FSi/1klFnBuC28ct++UOGJRLFb4KtG2v6oUguhHZ8eADB9oQWFNWtQXH7+hj9CZ7mX1+zeai2C2sT5GOLJDRXf1UiD29kmoN+3ba7t2tiySFO5efJUThcuFaYKNGriKpgTmmo8OnsAtV4c+jJLiPZHxuxpI2od7eUkWG81lIwvIXtzqFAyoiC8yQ39sUtYIs0YjyO69PDeSQz+wwwqN4rUkF7KGIw6t9peE5aADEB4GzP69kcOa0V49YKmmlBt+0HIK2CLb6EGCQD8CBsyXjoKnxt1lKWzpdke1p8vcKf45AzDHsQ2MIj9yIZf5aVCBxKqs9G92gtuYsAi068y2+6n1PfkDH0PP1WYUtx/EYvkow2dDjQeOhjXTjZUl1CQlqENea7mCf1rAxlqL0rn+LNXBm1Fh+6/rfRir+hMtKUK3Ocs0VrQGorZpkdR6Wv430tCP7c1uCrMWTgWPtXdrbPQWs9kAcdqRudSqPZV+/5uayAyIFhdCwfc7P81U0aTTEhO37RFCjkbFO4xPVgFUcPZ99X6x6Ftuz9g6bzDweZ9Ngp3zSrrViMWnsvm512dculbev3c3XJd8OUI6KWY1Jtaulnvee0OP+EkMJgkm3nqwRaIRRlRBP1Z0/fYF5MlVOgjHx7TN7PWWFyCc7B6qtIy/RvXS6xV8n1nzfDjqn5MVNhhXGwKfWdEisD+5iSgA/GeUqFZnWZmfYbkTUZOdRxJj5PpZqaAJiE9clIWtZr5zLz4nesJI6urCK6hC6lvHmZnxbD2354okF7o+FV3qD4sZZ0NHOSaoCeO9wDb2Lu15NTZy00nl7lj46aC0a5iC7NgbLMeZUTwIgqTc1/rjJSqM3mRnSs4UjiIGwDlgc1WZ+raFE/0cGX7DRXjVPdpPWXIg3FO+TSsQpyGNsFwvAs3NJru8HhXu5pS1JSzhjsZ/IjfowLk6i6heakIsgcUm92AMU1WlqhuSu+7B4WiR7sGA9IZ8yxl3UV9DuQo1mOQ0nZ/NX/cIvheMbVWoUGgvYOrHnmeAyHJQln+GEmb7cp8/e0OxKdWPTYwsuf4HL1GbpUiohuPCRxbRC6aKC00G2NodLMHi+MgxgUiDPcPgqx/oC7bL5VeRwOsm0w8sIyUOGSQTrA7/AUk2D3RnciBKJmKy5CA9dSHWthK4mk2bXWDzxaQJYgpXMezRQSgNsf7CYgGQcbxqkyeDO4VrkRO42OxsitMrP7YYtJnhUXQdvB25i07eNLzF3MJZ4jgfwflHyVJenIKqa6hjFMY/hQTo1MrL/rQaNefhRpvn26zIHhD2uh/lKfWGQfDpJbwsPSfzu7hsWYU0S9u0xSPvnSSGbDl2wnKal+pWgRMTRm79jixdlRhKaC6O9NCxt2guc5iXyhM0CsD6o2kKxkZ8sFo72rF/oRMU/colCIvEgnun1rjJo11YBYuwA9hj5I3CDYAIfYhu5CEnYcJj6cpfrNuXNW5zryZP2FWsGYObTac7iDDd44LwuxFRnDeOdwy0qVzg8AMjmsABmkK00D95UVil4LgOJZ1pfCePg9bu1yYQmbGaFu8TA4R8G1et30q21Ys+aezqJbh2I4HCMDR20dxVqlzNvi1rII/Wtq+t1ni6nJoelusVEmiZSLFpct/UlgqM7XULZEf/dmh4wMpR664rcikMDeGJxVuyVlGvBdkFn/wHi9mvG9/xJQ3Gv4AxQNQtnIHnl3XjzYMFHoyNURDgHJmaUa6jqLLxz+m9xi6OPKZh7Csu6BPLIRq0/5R3SxZTwp9BGhlbhgQzs/Iz/mbBuU6MJ4lhIBJhrO6QmKxlgbM8UtOzZaVefXEryXne5Wmr0rVyHN2BKPIfF3ifup+vLflHZgaNK9C/kp54Z8LkKjyfFhr4q/+wyhUhzHGhm0sdXG7YD/bz5x2152YPBZqGE6GB6R8mTENGgRzM38703HtcBUAPWDKjFUc23SHXtUg4DNPUFbT5qgZk9z40NFjrM56O6H2pf6aB9zW+hrnVB5iwYzevQuvld28tv9Bujo4mzQ3KtK1W+wJwPhWpePgXAY+eQ5ZWDs8WMv/qJnTVmpdnIrwNn1QEkLMCWhGDydi2Eo8sPhVFssDiFKcwRGgTuflmoJ9vPxiqT6u6P5RLfyS0gX6tURY3pB0Szkl7nVMPU4rjMHlZJkzX4WEHgIT3VPHkxaaZBZLGxdA/XduoRTSDmQi3OEyzh+jkPkoZh5G2/fbxlgwiTkK8hiAVqiHYuyfyDxdiPta27YUS2YrZlY+kp9ttlKnYcJcA+7LKPrx6MSRRhEvS86TsOEx1m0EaRbAtbRfeUNq19k6n7mUxafdpVark5fc8GS7ygLahipWcPey8263KBhuLoiT9payPxh+hnGxkkFL0wRInljzYlnPAI/3oG46iqpG33v4IecSQUtszuuntw6LiU46G/KWt8wSoZAVcss/lSUf0W8p9cEP+h4DLfo3b40tV31rvlQtsPeULZftcWbf75az89Rb++qqvuErUBCPjc642AYK+8XwU/duNdOdo4xnakJAFp5M8o5vIfg1+/+c0ChiI9gDIA5RLwXejOgfobqbe+virW5KYSOdae9lpxQWrBLdVQjnXPFisRbOAn5D6sgyzttYShGV2M1nj+tQB0g33uJbODe4dTZGUKiKHS7q3qyow9vD0/laH0Nadsbq9GbASizsQPN1Zv5HFbPq1SrB71SUy0PuLZN4kBSTTzPlDt2WOT+75yrWC7cKZQ4z686GrloMpL+/DlZpN/bJmdyu+e5jVZ4DRLT+JTRhrafY/9f5HePSJyWfkaLfQuaKSg4+Hwzp3y/rzsy8hs5nvY7qsMHhGhs2SbvNYUI5Iz7MGCUG5zAp0H/u+jUNJGVR5sROqybe8Vmd6zkOsLqXVlZ1A2wZn9EZIaVs26ERAA5NqEv2kqqfsCT73h5dgZpDeN5h3njYDO6Tg2mDZ9C5uflHG6G7VT5fh5Emq8GABO9CAfAWr6O9VGw71bKJk+CIj7B+k/PNwr63FvHtp0FvpXO8BuvVRM6rKEAcHkNPviNksRRDAQD14rTRk5tBZmME1Rfkz0O7txcBVwGLnU0/LOZrBC3+3Ym/UQ7J6BdPQrFSyRucsozd1R4VUaxyyowSRzma+jgGAOO1nU14oyOI+pN2wavr0fkYxR5/7L5MFStMOzUyF8iJnX+jS1jQ1702b9XktJmndDyXUrJOaKXmK9yAhRmtO5Mzx/X0sBcqb0prAbJ/UPJUnL+x1REouv3dsblPTrAXZoKbVUu7YMSMJr0Bmzb6iKQiQHtqXrLIbddqHyEIPoFS85k2RTF02fAsS9+g5Z+OBT2vdwFpaOJ5DB0G7j1ZYJNV+expGRChPlMJoBGmTYsTjNDuD0avOXbyJ2+1+YVmBYmaMJ6w7ekUoMeqgoXTDD1uJBfzLkVN0TMvWdSCwWpTuAPW5EYnSTPwAKR92sWX7T9JUCX0ybmnNBFV592iUdMFLwMBlL0hW5C9o99qg3uJCPgYMM+mcjL5O8B9tsrfb52oeh3lNxKe2HbORBSX8aTL2FOR1LzJRyPgi31iOee/+LwQvheno1FGwTHCGevnWLXnfMKiCpatOWNiyiS1xaf713IdwqnO+G8rVujzTnZ0YhfC6fXEHDDF1iavc28DZNzAGsbYMy1R/IDO93PuM1T0KgG6/+MMmq0dnx7xtboWeuz+9yRMMnoqSZ5KIg7iQtG1LhHQf6g5nFZVZLijihftfn0LP325iP+UBb2fqQ1JD40Tn4GHGiv/ZzvJeGFBX7v0EqmmxDNFeI+7Djkzr+hpQPrnNxrhSsNGwudaA1PZSrAAehRObZ8oGmbnVa4USLE5DI1rLu5IwEfO4rt4PGJM+QqlVbdNTuGdHHHViWrKIIZPlgDEWe6eTp/HH4tdS4CQlBg6VefGnn/TmZ32eF7wcRSUz5WWCouA3db+CSeK4tOa8YDi2ek+Udwb0paXv6/qSgxHkDMeActxKMuPNHgJY0vIGdO3NrFZ02prsRHhgULswUy662qVqubGUFmwxkPygu2U0Yva0gKtC1KmK1F5aihA3XA8DM1aIKxLcjVLWeD0vksupKKrwacsN3EE+Ra/xfDFRmhZyyNDf2KYlIfkMF5frzHxCGVnPrhZlvm1o8PabuCltQbn9CchPZPvT6VMRZJofuACIsip9J394qRHH7GuPLN6E3CuGVJIKOozsq5cOytLY8v0jXaE14tY4k0bkPBNMLdwGGtgdnMHsmk9DyH0xK7Vtxbmg8yeC2ntvsxcJMSl8U5DTGZX2IIJy3k7Prxc4bwqmyyRwYV0IHr1VGywc9r82NAAPwUYPqgX/Iecjk8lPKX7N2/xrGZvbz2o47xMRqfzZT0yWTxDEtatZHwZRHfbY4OzH3Z6lLuiGZT/eRb07kbd+7C0txHlsPO3A9/1TUJoLKrDzjJQ8aQaSErBbamBX8w3ukSSv2E0uDaMxV2NFF3NyNWyyZDZ2au4lse8nPFKWUBG/SX6ToRm1tUhdDAAoAdrRMtcd6JKfFUiKZdxxfJhbVM9HYKXAvlXWPPQsdjrziPcaVDbxB6g0JBMSAzThMZiPwmAglyDU5Eybl8GMfK6aiQ9wo2BHlU0fqqYaXsyzBpNc+0DNPxi47D+YdUDRegF7xF/9VPWWcv8pRkHyhXDUQlbWP332/fXCxSH3oZumy+npeHmO+YfLqFAdHv3V8dVcLsYyJxbgiX4u/W20L8tski4TE5QAVWRzBfdHpEK0jtSqvmBJ5uRoejVpOXcmp2cNSyMYliySwapGNjVKG3KQmWsKETZd/wq6gskeGmrTo0NxeQ8kYzdOY+CJutnflBL+WGYvYpXPryVV7Qcc/Nv189R9U3bnUjPE7itz3Jv9GnWDVpyo3uDicpakaHoXZIqa3CpKZIsqDu03NE3zAM8cfWVpauB7mKrTUWlapMAf6Ak0xIH0UxKTtV/rMLO58NrP9dGCDWd/6ntGf/vTABWcCaheZ2PSHqFo9Jqm7yrzSRJ0uIw4Zkx8yaJ3j0h1pVacfrGRaa3eLShusawSHVXCXlfDXwcOjP8DNpiNnWCLKsQVF0tzVl9rOpYi5yefKuQ1GuVf2VprWUz5s9+m0oqPbj02GkCwVSoDMousnvjXD/3KU0vmBZU012O9ABwFnMALqa5vSKK9DnPP4m2xDtjvY+c8Vr/uU41eWFu9h6BHIp4X1YIxIctWhxL5AI+LysRY28piEuW1XNrvUREvIKmsi9kr+LZ7FHG8Uhs5LsXYsokr9Fv5wq03O4GgeqpPWSDwnZA1clOk6rFmKQ7uckW5o65x+mIo63CNY7ws4LzqDBbkeh1IYencjEiFLGCTRH6Le/G7BlbuRy0pgd9sdoHtm2KU/pxZsB0PqkwtzV9gm4IGZMyo3vVO3oR6QY/02YhF5U5zBBFe1wdcBeZx7mBOqrWlQGNYEybewFk9tjOYw5cgWg9R9uZRMalzTXHU/ZvnuNNwueQGNbRTc00mqeKCuyvZr2stLezDfDyT1mxu2wwQL99lkHnDg6F4h4aHYAoTw787R2f2koPILgv1q3iB+RO7z4er2JYc7YouTe6sPDBw0kbVbqYxIWfftizIZ1d3782/rXUzkf1LerIZYJHTBzABvGEtc+jyClRjxGzP5VViyoDJ+Xs0KNx5FV27Jg8E3oh1ZJqZ9PX1Uk2oNqX1lFPtQNlTroMc16yMjA7rWPeAIkb4V2KzrlJ9K2lNw3YziPKpsn/N4k4O9Q3KfgUhrjEtTsGSjQH3jl54Tz5R+D5cCUrfwEYLi6LWfM8Tm2NNxPyE+7DrX/qZ9F6NfFPkEqeRul2xTq7yDkA0KDgd1pRv5dXUR7wXeA4cwcGB96se0ViIs7YfxDAKgCfhpJRq2bK2Bx3b5LEvZVFw2pMHLBJQX5xzHZZimJwLd3wTQ9Ef4LE9zKSb2sa8jAc9hmU4+lvrvt1Duh2X4IOK+OUckDZeacMPqi+wAI3atgUkc/CNBbpm1jGEGNOz+f6z/cxwP8E2OR7O0zpcEnpT4ouKUzOXkAJFkzkCKUcFGio1SKWP7xE8Szg0A6qXHdTAwtJ7E45ii+EPdUCmVvXQlQFIr2GU4SWXIk2uD4sELK/Sd1m9dcy0S9VGGEscthxC6NpCaIJZqZlrs7RSo1cUPsDnikgLrZDRz0EPe/MeFuhD2V1BeLYEaz7lJfTbmXMf/6JVd2dWqqMSGjaXQ0Q1F2mpDCz1Dv5TmqwSQP9MfHqD/RKI4t+Ey+P+UzvIg+rlC+PprpWTHeK3RWGIIlgjkHZ7XLljdR627A7WlSsCCp1GwVUGxz2PYwa7i6ZRoc6f1nc8GNChc72akuqpVcl728GHT7t18n+dZrSku6JEaISJxR+lN6rwaOyuag1ONDq5T6KDPvXtid4qRPXfvHyWs88VPc+xkew8sH8F9kAsqEHr4XV1GelmP6kG1OOnTtbINOaxkaUN/XPJ8XW7cEVVC9BzXr6TAYNF93UA7azRQbmLxegyTn1FZ7ubI4VjXXt7tlklwGMeM9ivexb0SJ0PoR2mq52uQmxfOwB6vFLNSFHyFbdk5ZAbzhBW2eFOZnzYcr4z4AMlwhpvbAKk5GOSGQbZcQ+gefsCrLynVG+Net7ZLiBD/l7/6xlDTj8wuSn/WTwPrKMRnVcvdvtB1dfbwRndQSY9ZuvBxTS6Maa5RgBONRl0OHKs9PcEG4esp+Hudw88mxkZdMWo4jNPtIoA1T6ec0vfUAHEnkgOTOhnSP+Fs2xWhvrK0X55jk8vm0LrvCMxzR+HPobdNIYCQADy/7TElrF4CJmQn6NrjOfsBA9o+oJblvDIHwihgXtFBTyZx3j54Ks5w1kG758zf2rt8qMe2PjU28yo9OfB151pfUchb0fgUP27D/i7Zs5HT21l/XJLgkXUOUqMt5UASngsYl5I22LvF1pnrfAle6dyF6mLAho1miA9qiA9HaW0C6wSEL04+BzCn5jqrYOyx2AqJXzxtzkcQaQDmXpmuDyR1BUY4FqA8NTtfDwDRPffUD4Je7EBDd8C27HJ8le3qyI6g8oH5NCts1bObtFGO088OZIkV9tX5GQDcIf3ZLAsn0TsRLPKlI8+oEan2l26n8In83okqavgZAJcUynmGQJ4el/oFaUnLWI7Krm5HY45Gm/djDnrkohNbd1ZVdS63h6QZvgvpr4Y6XeNKSV8lhtQmTOZuCDCflD3FtULxyZTR2Rs+usxChvKJU25TFsOiBQbC+Eeew/U+zGxJowdPYZXm8ByRLbYgRZDAyGvqiJAkuVOBdlxFR9o86iJvh8U6jnBFM2n6vT5I3/T1Q8QkLV9vQd314ncGyZDycKlnHd0Osur3sYZEy6sIp5eheA0lMq+slGbFz6Fo0qPeisFkPnNPvTRm1rQmZTSCeH9c7D7Hj2mAWmOroz2SZC5PkTLoYAO2DZAUQrWl551B1/ujgGrleI21u3ltBp8NrWycZRP8CuhxtV6irwp5WDYZ2xV1tu+uR6HzSMI3Uvlce2omT+1cF9URpB95PhoByLXKvxXLhZPKOnunJ/t+w83PX/l7ZU2L6cVJuYkdTfmTH1TCI/7bWvGj6KJ7r2UFOeew9qWSHhPs+73bD94Mm+RHm4/mKb4a9CxPwaLdBqk3upbookV0Cmv5MYvkJeWRYawNzDT/x31+lskWTA6orpP/S41X37wp4FK8W7a61APAnwtZdmoHt2N5Joe35fWuyGX+o84iWU/UrO6r8thTp6+jtJQa09lvj/2lHMrJJHBmm3Nj//URMgBk2CL1jCe3lqVIpyY4CHlAyyr+ItuGsDN6gvYER5EW3UQMS3xcKDemvOdYY6nki2JJVs15CTqiJrh5xwupbCNxWRi6D94uW4C94QVKnuHIxWqGsDfXaFo7QLbmoYhK0vDZOk74cOL4a5RouZpFonndV4Q6GPYImzlUxLKJgC9THeIy2rGeOWiShmpxjWvS7vmPLZPLqNiTxZRYJUvDLwVnJw6FNlcZd1Ht1qnBSD4kSDib7BESCLY+hlBf3Nf7Pcw4UhgEVG8EBd96Btjwq8pRRlD9cMGiLadjhe8VXaRUzyzfhoKNMpG9Cbg7KhTmULv1H6px76ak9C6yFkaXr/muu5qgvF9HD+hcCtJ4Df15j0tKVrzgy7oG97sGZrMNUaGfW+9pCWJFLy/PEsbW7Sq62WZS+fv4Ai0xOM61Qv56NyJ4gT1C2njACBgj7etX9pi1iWVR1WNzd5w6VGaeLQuuPhXwotLR+bvBT4O9Whihgpo1XG1YSyewEbqeQ/D7ZbUFxyl9Ookx0KR2ndxp9RV2Mqye6XCEIxc3VO/3pHgH+dKf5xJSq9oK+LTEnRI4qXgD5W4tgbD8H7ZZPmClrkNQlmqO5n/Hz8kGFgtGf1eEoK3SYRbS5KrVEZxVrAfQFdGMtaui6ksUcLYxYDXRicGnQcMHaj69SSSseulidlbDlMVQKZwXSPyY98G1L3LYex94uLFgmgHlL8y5rHuTya3o1Pnl3Zm2WkE5m1IUYDM/RVN9sY7Jpx0EEu5rCTqsclYMKoZ6V1Y00ED/BbXM3kRaxJvf9oAPd2kCwJVPL5yWFU63744PSBZ6SnU3jkmMIqyViyjn8LGvRewo0PvpRzwVWhzGQnF+nLRik++Yn5pjwcDwV11w9Oyee3IV6RANUDUELnVDB4IAlSga4RnrWDPl5ZzZY36e68yB/nKw7GFaIzyu77239KLUUGErPQDyPiRc2SESBs7CXSdTr/CfzBRA3NwaZ7RmclGe4Qdflii6qZN2AWx72liBI39ZUs/e46W7O1RvxDKWERBPsghyHv9qTBuXX4guQpyCmbsKnIr0i2Q/l76ssoKNMaCA39QgMdpX5lD03ZrR1lmTC1HTabsL4rzbfEgH0GmBBy3aKyGKxI+iNEoPR2YtcaXsBTgGRqP7C7I0wHx+DpdT3wJMxnIVBZzgdQ2deWRcnPpAqQejCk7TMtgo/0E4EGjIaH4/+kiW89CwM1BCFMo1u+KT5/5AZYeuP/a7StqLJFR8/tx7hHzPvCNB5QrVFSfFgTpILg0awiKHJqjKQu7kt9oTURHPIVUwVh0f+dRcLDFTemoMdBlK/N8IVEPm0pIbbLtDBHKsUbVS2dibI6021vC7dClHkgKoTUXYqyYHvoQ828xRv8xOtin/WuPjJaz4ealJcRWFdazZxK4y9z3gSAOQwfWKORIvXHAo/s01oSvJhipyHhY79yTg1ERuxHp0AihW55ov0KaAVnaGUBem+mqaBnpei+5o5L35VYB5oo3GibOJEZ6N7Un8FGcnS4j3gDOsA7rQpmDzX5Z6hk88k40nwG1IC+hCZvd9PlAT5PGA3h/4YJIhKodDmBQ3VmiO+sS3xgHMWgHNMc25njegksMWjaKsBWsGbhMNWYhSB4igD59xnJ+GWxvC6eddip4SSvbiOnYLeVO4Epe/NE79VKQPe4q7wFPmwYc0LcvAJtqPee545CGRLa+N8Egbu5THF5eNy0UO+oSEx32+j7Jb5r4UtX85D4pNf3j9qcoeUZYCzoCZ0oDbxnAl8cs8zmL0Ulcd+GS7jv/QF7Ya6W7TZzI1V7N+CxKkpMdo2FALeHI14l0j1nJD3qmjGQYmdjmuG4irLSGuOot5vT5mwo+TiBSjr8eUF3tDaZfHu2NINDMHxZAZahGeOSwySpcWGB8rxoX6BCgPKL3MnvVARkYZB3eRKxm5KNdzlnltTyZMitdBYjrRf/fkb9Eoc389GOqG+aZeyfnSaqJUMlPmvp3l0XYwbbQsFfwNYrreXQkw1Pq/7uKzKx/FBNbJ1QMahfozBi3MZjuS2U20C3geLYFkzSX4ruNvvRWqhKEn0QPevV16ka4fxM4hc2oJeyigmdseFDAMxyTKJpiKYADQWgwPwAjhopCHVVgt3ojKlp5lT3uFlMIBaa9TghlselNl1CDDGKx0gpa1DicFaCRJxYpcCHGpXjNIVDCaTUlwB5rfcrQBsxF1s9NHmWOdmQG/21ixE2VOfFyYVybtS5LnSH/ynRiFAcThvkvT06AL43k+cWnH6a5VqDe7fKZbpnOehZYQqRWMcTRAeTaqZJew5J26WJzCqv2iwebhkgQryAHbR7JJMpn/+9nuGH0lHfZruix+q4/8OAcQXVzUnjXc0Ev/3cY/bX0D0KrnpnrEui6+k6GoUROznE8iOeEoc/iwcXW8YEne+IrKFk7mCRAuJjRQLYZ1jhuPUmZ7E/qJklqjpeX4HbLF7cgQDFqYpVvGIo7AoGDALdkI2eZbsLmFVc3nE0hItU63gmab4O5JQh7N2wvvJp2rw3iAe+ArV9nU/oD1WQ8u/4nHjDtRufL2fgGJyY8P2wLlsEh2wKEA01l8S5kcNkvdVGgL4D8eYNUTmtchHUuXTGaXHjKRS8lS2unFJlID6DSkQChoTw++WMeOL38PYzgSRJCAhKitKfGNivIkrX4z8475oev7o84jlLMX8pkrFn5MLqMvEBVJHXsW/SsnTVnZboWXUxNrtAs7TfxIhtuSscpH39aFT1Ffn7fpgs2RR7kQTKOinr4bX62LSV3VwOyI1DKxI0lLoAnnrsbjNFlDUDVmyU/4PO135GSrf5dZK3XbY4/4czM9hblhZor3clbHUwavrUEcdpnzHi/TjB/BOc5mCpGWkyGPnfY5v9WiYJlXj8mUSIRrasp/5rHiIHzHPlz073a5nLigC2ez4VOCumirW1Bq55jxoVl/euip0POMlr7jqu2lLQKpUbl87FYo9AbPfg35zft9rD2Bo7CvCN1i0hJp9hdYaGlmRyLMDFWgasLwmT1nKl7PXcqdSBPnns4TQibJGls1nmDSnYzqlkwCG/b+QU9nr9k3WkjFsVyDbplR2zH2eNEatl/jVTHDkqM940Tw1CWoxaDlLDc4h8z+R9ytR/d7spbBiYPoQaF1mNtyiUY3uFub3QhyEtwTRtNrjYvLRbNnzYWQyZOpXRq1Eu51dlyP5/0EmzSDL3qbMl81x/wDUELKlha+juYTc/WRpfKMWygOZzmobeL+5vWoJK1xiIramu22T68efuifrihqazLIkPfX8tTM39JKQz+Up9Uj5DHKF7IIUZ0PfZMUrztAT9JTIcAJZPi7nXB6pCy6dUFGjXLag+F1H7Y3xr6hfnCb5A/yBlkzdN2RP7wpa4VgTpiGKCllEv6ohVpXaod16J8vaB+rI/t33SnfV7snW9D6SQu/rkGjV25fQavXE6s1Otc8yxFEJY15VRxiFQBbYBNgWJqRmmNaGxaQV9If7XyFBmfJYIMWwSu6RJ5Qz+eQuw9N26YKG6fWwj5BbHsRse3Sdz5fVwKx/RwtrDeiK2TeVxYhtWKigTwda9+P1KX0NFq1pGJz0f/KPxjAN5B/bqw7B/8NyGTQkWvsWR4A+lftFbH+ALLQczFkl8+UJvbh2ag6l5AXV36ooY4OjgZtJLG8ob0Gm3w5AxwIK+vTDbKu2yIvz010qRXWSBEKMuBB6apNyPiYfcVIa3hzuHyfLVc/PWurdMCHq/Z8y1Mpe2YXdEPNCHvEqjxWFGuZ+CSbxmo9p5ZdnN4FYz9/ERVX1R6nwqe/H9cR5jjRNa5UoDO3v0KrOF2jhwnkEQ0fmliaT73R1J140pMc+MUeOFMMm1NVmhzTh4zOV/JR1jTUElPBdjQ47C7yv0FDYns+xE4rPs53pReVm3fHdTsdaWXeG1vvPzFAbRQoJQlbg31ZorT+otnZSUMF7dTLXAZYlbgJIyCPkNv7GXbqkDGF4rl82QO2io3ktc6nB7DFH/tBfw4bEEl+0637C42A0bMjKP/ObWNPUDPw3488nLgFYuVe4ivOq2lT0YMzw0qtEpCGok6GRdmtwcAVB4AAw8f5PxW7mTLUrRcRyHKlD4Glbe+mI5zQ8Bi4XI0VTre+gz8T8O9Y7XvUIQ43rYlLWynYp6Q/aHXbiBtwg8hdORMWJq+pdv+mwOOz69wQW9nNjAbU38Fk6cEijbWP39hWoyCfQKiKlXLsQZAhIko+7Xz/Ql0wIUhsWJfpdf85dOg3fDRXa+G7dO8kz2FpCMCHec6orw4mWg9LRxsPXXP7JymVN+AHOZIa/pGDcAIFjSGJhuOq6le0f8MRD+SWCTuTS703iDdwwhqremr1Yq+RpKqFoi7pF+xVsGxUwweSNV3NvybPssfcY7WN1g3XWuFC9l536tPnliE1e2e1RiMbCLpcpQA5iaj3twrBNv+bIb79Rhw9hOvhHGbCym3YomMxScAtTUYIzT9K5WslK++lbnbh+9Pja0fSFpDAPCuT93z4+R+Je3/G9WFkjz3fAeANauZgDGSUOF++Q2HrEclOndw6k4ezTAKUotPi/8mkS3JSi0IfCzmdNvaxmUQn2kY5qZG/+cKier93AVYHInzO/4/LwgeuwkTSBkIYhK1dINVlm4if+mIMkXg1IVJLDbotuUYZe4ftGxgvyHr4YpsURnf4KhWU/5SW5TPXa7HHNGV869Zrv3CYihIEWh4EnZRo/4u9Vs1OxENgFqOvjlKJlpm86CAaHGzR97UM4peRjgCuiwx64c8Ce20T0Tvlzz0Ap0DB8GXW6zq+qK7Y9dvcSQseZbS4FSYFBL9UVx0meZmSO9X60RyV/ak0iTXcL+pUgtYt1+el5sTsBqTEHgXsCQZPMdIuSc3G2RD84L4q7ZH8o4HqFNpx33snaHqVBCkJa9ZAV323aoj5VOwQGKX/sXkRd9vVeAv2rfquoZPhSgLPHqr9uG87SarU+iX3nIV/VDZT3XTNwM3OfnAJnPELMbY00/uKW91vxa9XvxaqZUtpgBMjHdPNfdz5fcSxELFzRcN0bxgI/H0sv4a73IAi/BrKYa1cgw0gBXq13O8D6y7WVjod7kDDW/IKBZqMMWhjH1qydKpRRGPdelAdnY4dpzXrU3mXc9c6+K4F1K7jLvJh2DzN9LxM9b7AlEYx99f2mOosgoNuyDojUNGE6/SI/h5CvTYuzpG40mNvsHRImYG7zc8oWFcdlnrCQ+sbNRqB/eECRSrhDLXBahoKJq/wjN25GhkzopVg91nsZc7iUprlG2LVHJjTM/I//mZbN74gSPYjzb+3wOeAhLJsiilZPFz3vty3+67X5GBgOYih2CPNoLMVtILR6vA+M93Gj40iqBjMUmCkRghtIWVb+wTeH0G3IFvhTSPgfHlssbUE3v4NbRkWRyWAeOYXTqwUJmg2Fheg0JpB2X6X5Ymc6OYUhHba0TSZTXqktug346DdSWmPonq3D6R9DCkk/OpbJBCAonMlHJiA7iWSFO20e7Jge0iasCEm8EcXBYTkyD1VgJbGMj6AzLTLLo4OqCr/AWxkF5hYS/AbsLsj2VLkuOyjXWlQn0uO3ZnrRUttIHHRFEptzv4+C3z0yrq8my+UpS++NzHEzwWOG58gje9Cu26aIMXk2LhPn3n/2/mXONq8dv4GPIJqK8nJb/Entww01qfDo28Ex3PUamTvqXxJroVoJlew4WAJUsFsxbjPJu/JhMxZl8kOgu2E02zWwfI7trK616lcXB2MaUij9zewSGtyRZ2nTnYt1VjRK21YbLkNf+d9tJ1BywWAot/FS+YGw9CfGiiJkbgJDZagX5304hgCf0dUuUH/iyJlDO54b2bBoJqol05ApDLx/IptV1nsSdtO1FLmQR81AYpm2waXAmhG9FKlzFOy3uFB8i2Kl5vt3K4/Ofh0a0iJSlDlgMTBhds007920RscwWFHnKKnaCALVIyBwRxsZcioK6KYwlho8nsXe+xmbESWP/DzPjC//ROO5RCEFqyH07OlI/GCX3B45Y6d2+Mg7igmFvkiA+TSsgfHSx2iQCaVrGeIcA13qpYOLDYpx3R/vud878WK5S1pslnfKC04vbzlhWutLVuodE4nrJlbhuzAtX64rH9mt0LgYWfP5bQwoSR5oih+hZi9U3IB94EAQxk93c5+sFPPEbC759ZW4lNpB8eqDMIhKJ9hpZz2ewLrhotKxgvkl23e7xL+jpiohsn9KteGPV6gzRnykv63CeazG2A3/u8vLoT1++yYSa48pJ8jaVw6rm75CB5kYUkdoldE5z5tZrz7GEqfbwgPy03WRxCiDiyE2zb8FEiystksCCnV10W9ahyo0AbBSXHGQL4GmKAYSFZ+MgfGu66CAeEAnS4O+rVL/FToEASdWv8l+1tmvYZzUNnx0UoMZBD5cyCUqfEH422bhfJD7XWiS8nZncKKiylicT4Xovoim3LmcIl0UO0po5HV+iBG0qRXGGEN2JiK6QgazqwugHNQOOelAjgeoq9Ud0EZ2mNEXmO6CKQqs+ts1rAGRswxx2jkIe9VzD0cdz9f1QKO9PUtcs4vcIea7OERTbf7V3Sgg9EwLK90oJvBPGWpugZTQQCRpoMJhFLU5+DdxDsKUkFqOuhLBVVrer5axd9vxUfXzB6yWJo5sLdarxDY4fOHxZ46ololWm3Ibmdd7R5ANSDCCtVpw60iiVzBTSiqj2g+0LjWRlwVn4NsbSoFy1x29O+JdBmSbAWRFQOVUKYYL1hj7dk21UBfqY43y4PPNpqP5zEOqby3LbEwr9hw=" title="Mekko Graphics Chart">
            <a:extLst>
              <a:ext uri="{FF2B5EF4-FFF2-40B4-BE49-F238E27FC236}">
                <a16:creationId xmlns:a16="http://schemas.microsoft.com/office/drawing/2014/main" id="{5BE0CC4A-8D41-5FD0-EE12-FE06A7132DB6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359508" y="1977293"/>
            <a:ext cx="3384062" cy="4064000"/>
          </a:xfrm>
          <a:prstGeom prst="rect">
            <a:avLst/>
          </a:prstGeom>
          <a:blipFill>
            <a:blip r:embed="rId4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B082FB-715F-E4B7-CE83-501ECDF376DE}"/>
              </a:ext>
            </a:extLst>
          </p:cNvPr>
          <p:cNvSpPr txBox="1"/>
          <p:nvPr/>
        </p:nvSpPr>
        <p:spPr bwMode="gray">
          <a:xfrm>
            <a:off x="2161477" y="2268625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  <a:latin typeface="Arial"/>
              </a:rPr>
              <a:t>60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FB02169-CAA3-90E8-C457-23AEFFC6570A}"/>
              </a:ext>
            </a:extLst>
          </p:cNvPr>
          <p:cNvSpPr txBox="1"/>
          <p:nvPr/>
        </p:nvSpPr>
        <p:spPr bwMode="gray">
          <a:xfrm>
            <a:off x="2161477" y="3388147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4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ABDB373-0A28-3B22-DD91-D3EE0D29D1BB}"/>
              </a:ext>
            </a:extLst>
          </p:cNvPr>
          <p:cNvSpPr txBox="1"/>
          <p:nvPr/>
        </p:nvSpPr>
        <p:spPr bwMode="gray">
          <a:xfrm>
            <a:off x="2161477" y="3933283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  <a:latin typeface="Arial"/>
              </a:rPr>
              <a:t>28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85F9BAF-9949-ED1B-0C81-46A959F95BB2}"/>
              </a:ext>
            </a:extLst>
          </p:cNvPr>
          <p:cNvSpPr txBox="1"/>
          <p:nvPr/>
        </p:nvSpPr>
        <p:spPr bwMode="gray">
          <a:xfrm>
            <a:off x="2155017" y="4512458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</a:t>
            </a:r>
          </a:p>
        </p:txBody>
      </p:sp>
      <p:sp>
        <p:nvSpPr>
          <p:cNvPr id="69" name="TextBox 65">
            <a:extLst>
              <a:ext uri="{FF2B5EF4-FFF2-40B4-BE49-F238E27FC236}">
                <a16:creationId xmlns:a16="http://schemas.microsoft.com/office/drawing/2014/main" id="{63AD11B1-462B-EE17-DE01-A647FEE3D84E}"/>
              </a:ext>
            </a:extLst>
          </p:cNvPr>
          <p:cNvSpPr txBox="1"/>
          <p:nvPr/>
        </p:nvSpPr>
        <p:spPr bwMode="gray">
          <a:xfrm>
            <a:off x="2161477" y="2837998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  <a:latin typeface="Arial"/>
              </a:rPr>
              <a:t>53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btfpRowHeaderBox136256">
            <a:extLst>
              <a:ext uri="{FF2B5EF4-FFF2-40B4-BE49-F238E27FC236}">
                <a16:creationId xmlns:a16="http://schemas.microsoft.com/office/drawing/2014/main" id="{2FDFDC8D-21E5-3636-9BA9-294140EBA95E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3930843" y="5354268"/>
            <a:ext cx="1225147" cy="498941"/>
            <a:chOff x="-1182322" y="1726190"/>
            <a:chExt cx="2900299" cy="1370566"/>
          </a:xfrm>
        </p:grpSpPr>
        <p:sp>
          <p:nvSpPr>
            <p:cNvPr id="7" name="btfpRowHeaderBoxText136256">
              <a:extLst>
                <a:ext uri="{FF2B5EF4-FFF2-40B4-BE49-F238E27FC236}">
                  <a16:creationId xmlns:a16="http://schemas.microsoft.com/office/drawing/2014/main" id="{8D53835B-95FF-C9E5-14BB-06D774843650}"/>
                </a:ext>
              </a:extLst>
            </p:cNvPr>
            <p:cNvSpPr txBox="1"/>
            <p:nvPr/>
          </p:nvSpPr>
          <p:spPr bwMode="gray">
            <a:xfrm>
              <a:off x="-1182322" y="1726190"/>
              <a:ext cx="2900299" cy="1370566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liability, trustworthiness, transparency</a:t>
              </a:r>
            </a:p>
          </p:txBody>
        </p:sp>
        <p:cxnSp>
          <p:nvCxnSpPr>
            <p:cNvPr id="10" name="btfpRowHeaderBoxLine136256">
              <a:extLst>
                <a:ext uri="{FF2B5EF4-FFF2-40B4-BE49-F238E27FC236}">
                  <a16:creationId xmlns:a16="http://schemas.microsoft.com/office/drawing/2014/main" id="{BDA82ED9-903F-E0EA-FE8F-773AD13A4B60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699477" y="1726190"/>
              <a:ext cx="19" cy="1370566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btfpStatusSticker203358">
            <a:extLst>
              <a:ext uri="{FF2B5EF4-FFF2-40B4-BE49-F238E27FC236}">
                <a16:creationId xmlns:a16="http://schemas.microsoft.com/office/drawing/2014/main" id="{63ACC8D8-EA02-AA44-0180-11A58BC2749D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29" name="btfpStatusStickerText203358">
              <a:extLst>
                <a:ext uri="{FF2B5EF4-FFF2-40B4-BE49-F238E27FC236}">
                  <a16:creationId xmlns:a16="http://schemas.microsoft.com/office/drawing/2014/main" id="{70BBC96F-4866-B8B8-EA73-0BFF74C71BF5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ional</a:t>
              </a:r>
            </a:p>
          </p:txBody>
        </p:sp>
        <p:cxnSp>
          <p:nvCxnSpPr>
            <p:cNvPr id="47" name="btfpStatusStickerLine203358">
              <a:extLst>
                <a:ext uri="{FF2B5EF4-FFF2-40B4-BE49-F238E27FC236}">
                  <a16:creationId xmlns:a16="http://schemas.microsoft.com/office/drawing/2014/main" id="{125F913F-8577-4DD7-9B0E-2C6A1AAB6662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40B2CCF-31A7-5CC3-4E76-BA19E5047B66}"/>
              </a:ext>
            </a:extLst>
          </p:cNvPr>
          <p:cNvSpPr txBox="1"/>
          <p:nvPr/>
        </p:nvSpPr>
        <p:spPr bwMode="gray">
          <a:xfrm>
            <a:off x="2157266" y="5074935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898A21E-9875-1E94-8C58-9ECF77C4F799}"/>
              </a:ext>
            </a:extLst>
          </p:cNvPr>
          <p:cNvSpPr txBox="1"/>
          <p:nvPr/>
        </p:nvSpPr>
        <p:spPr bwMode="gray">
          <a:xfrm>
            <a:off x="2163726" y="5646510"/>
            <a:ext cx="343976" cy="1958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  <a:latin typeface="Arial"/>
              </a:rPr>
              <a:t>15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4" name="btfpRowHeaderBox136256">
            <a:extLst>
              <a:ext uri="{FF2B5EF4-FFF2-40B4-BE49-F238E27FC236}">
                <a16:creationId xmlns:a16="http://schemas.microsoft.com/office/drawing/2014/main" id="{5D367625-738C-57F5-70CC-AF83A5440958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3930843" y="4591862"/>
            <a:ext cx="1225155" cy="710893"/>
            <a:chOff x="-1182322" y="1745022"/>
            <a:chExt cx="2540000" cy="2359427"/>
          </a:xfrm>
        </p:grpSpPr>
        <p:sp>
          <p:nvSpPr>
            <p:cNvPr id="85" name="btfpRowHeaderBoxText136256">
              <a:extLst>
                <a:ext uri="{FF2B5EF4-FFF2-40B4-BE49-F238E27FC236}">
                  <a16:creationId xmlns:a16="http://schemas.microsoft.com/office/drawing/2014/main" id="{8F08D09F-70CC-E932-7362-1F0FDFD279E5}"/>
                </a:ext>
              </a:extLst>
            </p:cNvPr>
            <p:cNvSpPr txBox="1"/>
            <p:nvPr/>
          </p:nvSpPr>
          <p:spPr bwMode="gray">
            <a:xfrm>
              <a:off x="-1182322" y="1745022"/>
              <a:ext cx="2540000" cy="2359427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ality of products</a:t>
              </a:r>
            </a:p>
          </p:txBody>
        </p:sp>
        <p:cxnSp>
          <p:nvCxnSpPr>
            <p:cNvPr id="86" name="btfpRowHeaderBoxLine136256">
              <a:extLst>
                <a:ext uri="{FF2B5EF4-FFF2-40B4-BE49-F238E27FC236}">
                  <a16:creationId xmlns:a16="http://schemas.microsoft.com/office/drawing/2014/main" id="{78B2AC66-D881-5EFD-D91F-97AE0EC574C7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352097" y="1745022"/>
              <a:ext cx="0" cy="2359427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btfpQuoteBox701730">
            <a:extLst>
              <a:ext uri="{FF2B5EF4-FFF2-40B4-BE49-F238E27FC236}">
                <a16:creationId xmlns:a16="http://schemas.microsoft.com/office/drawing/2014/main" id="{AF566E71-AF0B-E43E-139C-47169D87D67C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5209591" y="375568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lvl="0" indent="0">
              <a:spcBef>
                <a:spcPts val="0"/>
              </a:spcBef>
              <a:buNone/>
              <a:defRPr/>
            </a:pPr>
            <a:r>
              <a:rPr lang="en-US" sz="900" i="1">
                <a:solidFill>
                  <a:srgbClr val="000000"/>
                </a:solidFill>
                <a:latin typeface="Arial"/>
              </a:rPr>
              <a:t>“Finally have a great company to check my three buildings with sprinklers. </a:t>
            </a:r>
            <a:r>
              <a:rPr lang="en-US" sz="900" b="1" i="1">
                <a:solidFill>
                  <a:srgbClr val="507867"/>
                </a:solidFill>
                <a:latin typeface="Arial"/>
              </a:rPr>
              <a:t>They communicate, are always on time and their reports are awesome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.”</a:t>
            </a: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btfpQuoteBox701730">
            <a:extLst>
              <a:ext uri="{FF2B5EF4-FFF2-40B4-BE49-F238E27FC236}">
                <a16:creationId xmlns:a16="http://schemas.microsoft.com/office/drawing/2014/main" id="{F2C16358-7CE6-71A9-21ED-5AE5EE13162B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5209591" y="4863327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  <a:defRPr/>
            </a:pPr>
            <a:r>
              <a:rPr kumimoji="0" lang="en-US" sz="9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I have used 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Sphere 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5+ years to fill CO2 tanks.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at service and fast too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.”</a:t>
            </a:r>
          </a:p>
        </p:txBody>
      </p:sp>
      <p:sp>
        <p:nvSpPr>
          <p:cNvPr id="101" name="btfpNotesBox817866">
            <a:extLst>
              <a:ext uri="{FF2B5EF4-FFF2-40B4-BE49-F238E27FC236}">
                <a16:creationId xmlns:a16="http://schemas.microsoft.com/office/drawing/2014/main" id="{DB6ABCA3-B4F0-C8FC-AD40-0C136CAA720C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330199" y="6434974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Google Reviews; OpenAI GPT analysis</a:t>
            </a:r>
          </a:p>
        </p:txBody>
      </p:sp>
      <p:sp>
        <p:nvSpPr>
          <p:cNvPr id="43" name="btfpQuoteBox701730">
            <a:extLst>
              <a:ext uri="{FF2B5EF4-FFF2-40B4-BE49-F238E27FC236}">
                <a16:creationId xmlns:a16="http://schemas.microsoft.com/office/drawing/2014/main" id="{388C118A-E06D-11B4-0DA2-5277A35476B7}"/>
              </a:ext>
            </a:extLst>
          </p:cNvPr>
          <p:cNvSpPr txBox="1"/>
          <p:nvPr>
            <p:custDataLst>
              <p:tags r:id="rId20"/>
            </p:custDataLst>
          </p:nvPr>
        </p:nvSpPr>
        <p:spPr bwMode="gray">
          <a:xfrm>
            <a:off x="5209591" y="298823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Sphere is a new contractor for our business and so far has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d excellence in customer service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mmunication has been outstanding and price accommodation per our budget has been met.”</a:t>
            </a:r>
          </a:p>
        </p:txBody>
      </p:sp>
      <p:sp>
        <p:nvSpPr>
          <p:cNvPr id="44" name="btfpQuoteBox701730">
            <a:extLst>
              <a:ext uri="{FF2B5EF4-FFF2-40B4-BE49-F238E27FC236}">
                <a16:creationId xmlns:a16="http://schemas.microsoft.com/office/drawing/2014/main" id="{796D0D21-B844-C98A-2FF2-76A816D45DB6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gray">
          <a:xfrm>
            <a:off x="5209591" y="5328991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  <a:defRPr/>
            </a:pP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“I've been doing business with them for well over 20 years. Their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vice is reliable and dependable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”</a:t>
            </a:r>
          </a:p>
        </p:txBody>
      </p:sp>
      <p:grpSp>
        <p:nvGrpSpPr>
          <p:cNvPr id="53" name="btfpColumnHeaderBox643447">
            <a:extLst>
              <a:ext uri="{FF2B5EF4-FFF2-40B4-BE49-F238E27FC236}">
                <a16:creationId xmlns:a16="http://schemas.microsoft.com/office/drawing/2014/main" id="{0A9BAD54-66F5-D79A-D67A-7A2E8CD1F2FC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334963" y="1329835"/>
            <a:ext cx="3394295" cy="247452"/>
            <a:chOff x="2322836" y="1512704"/>
            <a:chExt cx="1661362" cy="276550"/>
          </a:xfrm>
        </p:grpSpPr>
        <p:sp>
          <p:nvSpPr>
            <p:cNvPr id="54" name="btfpColumnHeaderBoxText643447">
              <a:extLst>
                <a:ext uri="{FF2B5EF4-FFF2-40B4-BE49-F238E27FC236}">
                  <a16:creationId xmlns:a16="http://schemas.microsoft.com/office/drawing/2014/main" id="{F8E2D875-6A2A-07F2-6757-F2A5FE9B7F49}"/>
                </a:ext>
              </a:extLst>
            </p:cNvPr>
            <p:cNvSpPr txBox="1"/>
            <p:nvPr/>
          </p:nvSpPr>
          <p:spPr bwMode="gray">
            <a:xfrm>
              <a:off x="2322836" y="1512704"/>
              <a:ext cx="1661362" cy="267901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        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1</a:t>
              </a:r>
              <a:r>
                <a:rPr lang="en-US" sz="1100" b="1">
                  <a:solidFill>
                    <a:srgbClr val="C00000"/>
                  </a:solidFill>
                  <a:latin typeface="Arial"/>
                </a:rPr>
                <a:t>20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</a:p>
          </p:txBody>
        </p:sp>
        <p:cxnSp>
          <p:nvCxnSpPr>
            <p:cNvPr id="56" name="btfpColumnHeaderBoxLine643447">
              <a:extLst>
                <a:ext uri="{FF2B5EF4-FFF2-40B4-BE49-F238E27FC236}">
                  <a16:creationId xmlns:a16="http://schemas.microsoft.com/office/drawing/2014/main" id="{FCBDF35D-6F54-F403-13B0-14EBE57EC26D}"/>
                </a:ext>
              </a:extLst>
            </p:cNvPr>
            <p:cNvCxnSpPr/>
            <p:nvPr/>
          </p:nvCxnSpPr>
          <p:spPr bwMode="gray">
            <a:xfrm>
              <a:off x="2322836" y="1789254"/>
              <a:ext cx="166136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btfpQuoteBox701730">
            <a:extLst>
              <a:ext uri="{FF2B5EF4-FFF2-40B4-BE49-F238E27FC236}">
                <a16:creationId xmlns:a16="http://schemas.microsoft.com/office/drawing/2014/main" id="{0B1AEC19-6349-230D-A3C8-636ACF7073B1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5209591" y="4059407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latin typeface="Arial"/>
              </a:rPr>
              <a:t>“Been using Sphere for many years now, </a:t>
            </a:r>
            <a:r>
              <a:rPr lang="en-US" sz="900" b="1" i="1">
                <a:solidFill>
                  <a:srgbClr val="507867"/>
                </a:solidFill>
                <a:latin typeface="Arial"/>
              </a:rPr>
              <a:t>always professional, always on time</a:t>
            </a:r>
            <a:r>
              <a:rPr lang="en-US" sz="900" i="1">
                <a:latin typeface="Arial"/>
              </a:rPr>
              <a:t>. Thanks to all for your help.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btfpQuoteBox701730">
            <a:extLst>
              <a:ext uri="{FF2B5EF4-FFF2-40B4-BE49-F238E27FC236}">
                <a16:creationId xmlns:a16="http://schemas.microsoft.com/office/drawing/2014/main" id="{AB0090E4-61AB-61EE-422C-60943F992230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5209591" y="454397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latin typeface="Arial"/>
              </a:rPr>
              <a:t>“</a:t>
            </a:r>
            <a:r>
              <a:rPr lang="en-US" sz="900" b="1" i="1">
                <a:solidFill>
                  <a:srgbClr val="507867"/>
                </a:solidFill>
                <a:latin typeface="Arial"/>
              </a:rPr>
              <a:t>Terrific advice and customer service</a:t>
            </a:r>
            <a:r>
              <a:rPr lang="en-US" sz="900" i="1">
                <a:latin typeface="Arial"/>
              </a:rPr>
              <a:t>. Get </a:t>
            </a:r>
            <a:r>
              <a:rPr lang="en-US" sz="900" b="1" i="1">
                <a:solidFill>
                  <a:srgbClr val="507867"/>
                </a:solidFill>
                <a:latin typeface="Arial"/>
              </a:rPr>
              <a:t>high quality </a:t>
            </a:r>
            <a:r>
              <a:rPr lang="en-US" sz="900" b="1" i="1" err="1">
                <a:solidFill>
                  <a:srgbClr val="507867"/>
                </a:solidFill>
                <a:latin typeface="Arial"/>
              </a:rPr>
              <a:t>Amerex</a:t>
            </a:r>
            <a:r>
              <a:rPr lang="en-US" sz="900" b="1" i="1">
                <a:solidFill>
                  <a:srgbClr val="507867"/>
                </a:solidFill>
                <a:latin typeface="Arial"/>
              </a:rPr>
              <a:t> extinguishers w/ all metal parts and brackets with straps </a:t>
            </a:r>
            <a:r>
              <a:rPr lang="en-US" sz="900" i="1">
                <a:latin typeface="Arial"/>
              </a:rPr>
              <a:t>for the same price as the plastic-handled junk at the big box stores. Highly recommended for your family's safety.”</a:t>
            </a:r>
            <a:endParaRPr kumimoji="0" lang="en-US" sz="90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btfpQuoteBox701730">
            <a:extLst>
              <a:ext uri="{FF2B5EF4-FFF2-40B4-BE49-F238E27FC236}">
                <a16:creationId xmlns:a16="http://schemas.microsoft.com/office/drawing/2014/main" id="{4E3D08F3-CF7F-6822-5868-C81B01971792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5209591" y="4224627"/>
            <a:ext cx="693234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latin typeface="Arial"/>
              </a:rPr>
              <a:t>“I signed a contract with them in Jan 30th and handed it to their representative and he told me it will be a week  then kept calling him and texting him for 20 days till Feb 20th and even called the company to find out that the </a:t>
            </a:r>
            <a:r>
              <a:rPr lang="en-US" sz="900" b="1" i="1">
                <a:solidFill>
                  <a:srgbClr val="CC0000"/>
                </a:solidFill>
                <a:latin typeface="Arial"/>
              </a:rPr>
              <a:t>contract was never been submitted</a:t>
            </a:r>
            <a:r>
              <a:rPr lang="en-US" sz="900" i="1">
                <a:latin typeface="Arial"/>
              </a:rPr>
              <a:t>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E6C3F59-64AC-3EF4-0FA7-B0FE02399084}"/>
              </a:ext>
            </a:extLst>
          </p:cNvPr>
          <p:cNvSpPr/>
          <p:nvPr/>
        </p:nvSpPr>
        <p:spPr bwMode="gray">
          <a:xfrm>
            <a:off x="334826" y="1315154"/>
            <a:ext cx="807605" cy="226129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400" b="1">
                <a:solidFill>
                  <a:srgbClr val="FFFFFF"/>
                </a:solidFill>
                <a:latin typeface="Arial" panose="020B0604020202020204" pitchFamily="34" charset="0"/>
              </a:rPr>
              <a:t>Sphere</a:t>
            </a:r>
          </a:p>
        </p:txBody>
      </p:sp>
      <p:grpSp>
        <p:nvGrpSpPr>
          <p:cNvPr id="48" name="btfpRowHeaderBox136256">
            <a:extLst>
              <a:ext uri="{FF2B5EF4-FFF2-40B4-BE49-F238E27FC236}">
                <a16:creationId xmlns:a16="http://schemas.microsoft.com/office/drawing/2014/main" id="{550EB247-79F7-31E4-CF04-5C0921249F06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3930843" y="5904722"/>
            <a:ext cx="1225171" cy="590839"/>
            <a:chOff x="-1182322" y="1726190"/>
            <a:chExt cx="2900299" cy="1370566"/>
          </a:xfrm>
        </p:grpSpPr>
        <p:sp>
          <p:nvSpPr>
            <p:cNvPr id="49" name="btfpRowHeaderBoxText136256">
              <a:extLst>
                <a:ext uri="{FF2B5EF4-FFF2-40B4-BE49-F238E27FC236}">
                  <a16:creationId xmlns:a16="http://schemas.microsoft.com/office/drawing/2014/main" id="{33D375BB-6DC2-FEB1-FD9F-41E287E63323}"/>
                </a:ext>
              </a:extLst>
            </p:cNvPr>
            <p:cNvSpPr txBox="1"/>
            <p:nvPr/>
          </p:nvSpPr>
          <p:spPr bwMode="gray">
            <a:xfrm>
              <a:off x="-1182322" y="1726190"/>
              <a:ext cx="2900299" cy="1370566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ces / value for money</a:t>
              </a:r>
            </a:p>
          </p:txBody>
        </p:sp>
        <p:cxnSp>
          <p:nvCxnSpPr>
            <p:cNvPr id="52" name="btfpRowHeaderBoxLine136256">
              <a:extLst>
                <a:ext uri="{FF2B5EF4-FFF2-40B4-BE49-F238E27FC236}">
                  <a16:creationId xmlns:a16="http://schemas.microsoft.com/office/drawing/2014/main" id="{0E7382EB-A8C9-2DC4-9030-6CB62BF950D8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699477" y="1726190"/>
              <a:ext cx="19" cy="1370566"/>
            </a:xfrm>
            <a:prstGeom prst="line">
              <a:avLst/>
            </a:prstGeom>
            <a:ln w="76200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btfpQuoteBox701730">
            <a:extLst>
              <a:ext uri="{FF2B5EF4-FFF2-40B4-BE49-F238E27FC236}">
                <a16:creationId xmlns:a16="http://schemas.microsoft.com/office/drawing/2014/main" id="{97101F2D-C6CB-0492-76B7-2504CC9414A7}"/>
              </a:ext>
            </a:extLst>
          </p:cNvPr>
          <p:cNvSpPr txBox="1"/>
          <p:nvPr>
            <p:custDataLst>
              <p:tags r:id="rId27"/>
            </p:custDataLst>
          </p:nvPr>
        </p:nvSpPr>
        <p:spPr bwMode="gray">
          <a:xfrm>
            <a:off x="5209591" y="5669218"/>
            <a:ext cx="686517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solidFill>
                  <a:srgbClr val="000000"/>
                </a:solidFill>
                <a:latin typeface="Arial"/>
              </a:rPr>
              <a:t>“Worst company to deal with. No professional resources, they </a:t>
            </a:r>
            <a:r>
              <a:rPr lang="en-US" sz="900" b="1" i="1">
                <a:solidFill>
                  <a:srgbClr val="C00000"/>
                </a:solidFill>
                <a:latin typeface="Arial"/>
              </a:rPr>
              <a:t>don’t stick with their commitment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. Please don’t waste your time”</a:t>
            </a: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btfpQuoteBox701730">
            <a:extLst>
              <a:ext uri="{FF2B5EF4-FFF2-40B4-BE49-F238E27FC236}">
                <a16:creationId xmlns:a16="http://schemas.microsoft.com/office/drawing/2014/main" id="{F25FB8E7-BBA6-BB52-A7AA-E785422D38A5}"/>
              </a:ext>
            </a:extLst>
          </p:cNvPr>
          <p:cNvSpPr txBox="1"/>
          <p:nvPr>
            <p:custDataLst>
              <p:tags r:id="rId28"/>
            </p:custDataLst>
          </p:nvPr>
        </p:nvSpPr>
        <p:spPr bwMode="gray">
          <a:xfrm>
            <a:off x="5209591" y="6217603"/>
            <a:ext cx="6970777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latin typeface="Arial"/>
              </a:rPr>
              <a:t>“Wish I could leave zero stars! This year they </a:t>
            </a:r>
            <a:r>
              <a:rPr lang="en-US" sz="900" b="1" i="1">
                <a:solidFill>
                  <a:srgbClr val="C00000"/>
                </a:solidFill>
                <a:latin typeface="Arial"/>
              </a:rPr>
              <a:t>charged us double for our annual inspection </a:t>
            </a:r>
            <a:r>
              <a:rPr lang="en-US" sz="900" i="1">
                <a:latin typeface="Arial"/>
              </a:rPr>
              <a:t>with no explanation as to why the price went up so much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btfpQuoteBox701730">
            <a:extLst>
              <a:ext uri="{FF2B5EF4-FFF2-40B4-BE49-F238E27FC236}">
                <a16:creationId xmlns:a16="http://schemas.microsoft.com/office/drawing/2014/main" id="{939607AB-D33A-72BC-20A1-BE335628F66C}"/>
              </a:ext>
            </a:extLst>
          </p:cNvPr>
          <p:cNvSpPr txBox="1"/>
          <p:nvPr>
            <p:custDataLst>
              <p:tags r:id="rId29"/>
            </p:custDataLst>
          </p:nvPr>
        </p:nvSpPr>
        <p:spPr bwMode="gray">
          <a:xfrm>
            <a:off x="5209591" y="196699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er professional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xplained everything to someone who knows nothing about the system.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s super helpful and spoke to the fire </a:t>
            </a:r>
            <a:r>
              <a:rPr kumimoji="0" lang="en-US" sz="900" b="1" i="1" u="none" strike="noStrike" kern="1200" cap="none" spc="0" normalizeH="0" baseline="0" noProof="0" err="1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shall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our behalf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They finished in a timely manner.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rgbClr val="5078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btfpQuoteBox701730">
            <a:extLst>
              <a:ext uri="{FF2B5EF4-FFF2-40B4-BE49-F238E27FC236}">
                <a16:creationId xmlns:a16="http://schemas.microsoft.com/office/drawing/2014/main" id="{8754CA30-8500-FBAB-4059-F23F2E5EB5D5}"/>
              </a:ext>
            </a:extLst>
          </p:cNvPr>
          <p:cNvSpPr txBox="1"/>
          <p:nvPr>
            <p:custDataLst>
              <p:tags r:id="rId30"/>
            </p:custDataLst>
          </p:nvPr>
        </p:nvSpPr>
        <p:spPr bwMode="gray">
          <a:xfrm>
            <a:off x="5209591" y="2467197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solidFill>
                  <a:srgbClr val="000000"/>
                </a:solidFill>
                <a:latin typeface="Arial"/>
              </a:rPr>
              <a:t>“Awful company- they gave me a date and told me I misheard it when they didn’t show up. </a:t>
            </a:r>
            <a:r>
              <a:rPr lang="en-US" sz="900" b="1" i="1">
                <a:solidFill>
                  <a:srgbClr val="CC0000"/>
                </a:solidFill>
                <a:latin typeface="Arial"/>
              </a:rPr>
              <a:t>Unbelievable and unprofessional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.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”</a:t>
            </a:r>
            <a:endParaRPr kumimoji="0" lang="en-US" sz="90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btfpQuoteBox701730">
            <a:extLst>
              <a:ext uri="{FF2B5EF4-FFF2-40B4-BE49-F238E27FC236}">
                <a16:creationId xmlns:a16="http://schemas.microsoft.com/office/drawing/2014/main" id="{B051EDA9-B062-3B0E-8BC9-AA8C6514EB88}"/>
              </a:ext>
            </a:extLst>
          </p:cNvPr>
          <p:cNvSpPr txBox="1"/>
          <p:nvPr>
            <p:custDataLst>
              <p:tags r:id="rId31"/>
            </p:custDataLst>
          </p:nvPr>
        </p:nvSpPr>
        <p:spPr bwMode="gray">
          <a:xfrm>
            <a:off x="5209591" y="345196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marR="0" lvl="0" indent="-90729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“Wish I could rate the service a negative five.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solutely horrible service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. I am so disappointed Would not recommend this business to my worst enemy.</a:t>
            </a:r>
            <a:r>
              <a:rPr lang="en-US" sz="900" i="1">
                <a:latin typeface="Arial"/>
              </a:rPr>
              <a:t>”</a:t>
            </a:r>
            <a:endParaRPr kumimoji="0" lang="en-US" sz="90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btfpQuoteBox701730">
            <a:extLst>
              <a:ext uri="{FF2B5EF4-FFF2-40B4-BE49-F238E27FC236}">
                <a16:creationId xmlns:a16="http://schemas.microsoft.com/office/drawing/2014/main" id="{D965C52B-85B0-8AE1-58EF-CF5B4500F8A6}"/>
              </a:ext>
            </a:extLst>
          </p:cNvPr>
          <p:cNvSpPr txBox="1"/>
          <p:nvPr>
            <p:custDataLst>
              <p:tags r:id="rId32"/>
            </p:custDataLst>
          </p:nvPr>
        </p:nvSpPr>
        <p:spPr bwMode="gray">
          <a:xfrm>
            <a:off x="5209591" y="6044572"/>
            <a:ext cx="6970777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latin typeface="Arial"/>
              </a:rPr>
              <a:t>“Do not use this company. </a:t>
            </a:r>
            <a:r>
              <a:rPr lang="en-US" sz="900" b="1" i="1">
                <a:solidFill>
                  <a:srgbClr val="C00000"/>
                </a:solidFill>
                <a:latin typeface="Arial"/>
              </a:rPr>
              <a:t>Pricing is extremely high </a:t>
            </a:r>
            <a:r>
              <a:rPr lang="en-US" sz="900" i="1">
                <a:latin typeface="Arial"/>
              </a:rPr>
              <a:t>... I was charged $397 for a service that cost less than $180 two years ago.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QuoteBox701730">
            <a:extLst>
              <a:ext uri="{FF2B5EF4-FFF2-40B4-BE49-F238E27FC236}">
                <a16:creationId xmlns:a16="http://schemas.microsoft.com/office/drawing/2014/main" id="{2D35870A-62DF-4FE3-A275-C273205E2383}"/>
              </a:ext>
            </a:extLst>
          </p:cNvPr>
          <p:cNvSpPr txBox="1"/>
          <p:nvPr>
            <p:custDataLst>
              <p:tags r:id="rId33"/>
            </p:custDataLst>
          </p:nvPr>
        </p:nvSpPr>
        <p:spPr bwMode="gray">
          <a:xfrm>
            <a:off x="5209591" y="5871541"/>
            <a:ext cx="6970777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latin typeface="Arial"/>
              </a:rPr>
              <a:t>“I went here to fill my CO2 tank ... They fill your tank or will exchange it for a 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very reasonable price</a:t>
            </a:r>
            <a:r>
              <a:rPr lang="en-US" sz="900" i="1">
                <a:latin typeface="Arial"/>
              </a:rPr>
              <a:t>. Half the price of some places..</a:t>
            </a:r>
            <a:r>
              <a:rPr lang="en-US" sz="900" b="1" i="1">
                <a:solidFill>
                  <a:schemeClr val="accent5"/>
                </a:solidFill>
                <a:latin typeface="Arial"/>
              </a:rPr>
              <a:t>”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btfpQuoteBox701730">
            <a:extLst>
              <a:ext uri="{FF2B5EF4-FFF2-40B4-BE49-F238E27FC236}">
                <a16:creationId xmlns:a16="http://schemas.microsoft.com/office/drawing/2014/main" id="{FEECBDA4-6719-C351-64A2-C0412EFDB1C2}"/>
              </a:ext>
            </a:extLst>
          </p:cNvPr>
          <p:cNvSpPr txBox="1"/>
          <p:nvPr>
            <p:custDataLst>
              <p:tags r:id="rId34"/>
            </p:custDataLst>
          </p:nvPr>
        </p:nvSpPr>
        <p:spPr bwMode="gray">
          <a:xfrm>
            <a:off x="5209591" y="5499105"/>
            <a:ext cx="6549120" cy="2112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>
                <a:solidFill>
                  <a:srgbClr val="000000"/>
                </a:solidFill>
                <a:latin typeface="Arial"/>
              </a:rPr>
              <a:t>“They are a horrible company, overpriced, terrible service contracts and </a:t>
            </a:r>
            <a:r>
              <a:rPr lang="en-US" sz="900" b="1" i="1">
                <a:solidFill>
                  <a:srgbClr val="C00000"/>
                </a:solidFill>
                <a:latin typeface="Arial"/>
              </a:rPr>
              <a:t>can't be trusted</a:t>
            </a:r>
            <a:r>
              <a:rPr lang="en-US" sz="900" i="1">
                <a:solidFill>
                  <a:srgbClr val="000000"/>
                </a:solidFill>
                <a:latin typeface="Arial"/>
              </a:rPr>
              <a:t>.”</a:t>
            </a:r>
            <a:endParaRPr kumimoji="0" lang="en-US" sz="9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btfpCallout300276">
            <a:extLst>
              <a:ext uri="{FF2B5EF4-FFF2-40B4-BE49-F238E27FC236}">
                <a16:creationId xmlns:a16="http://schemas.microsoft.com/office/drawing/2014/main" id="{1E276A72-4845-D0CD-0F91-BF1405EB20E8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1471607" y="1990445"/>
            <a:ext cx="820686" cy="163742"/>
          </a:xfrm>
          <a:prstGeom prst="wedgeRectCallout">
            <a:avLst>
              <a:gd name="adj1" fmla="val 38460"/>
              <a:gd name="adj2" fmla="val 115051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73" rIns="9144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of mentions</a:t>
            </a:r>
          </a:p>
        </p:txBody>
      </p:sp>
      <p:grpSp>
        <p:nvGrpSpPr>
          <p:cNvPr id="61" name="btfpRunningAgenda2Level873389">
            <a:extLst>
              <a:ext uri="{FF2B5EF4-FFF2-40B4-BE49-F238E27FC236}">
                <a16:creationId xmlns:a16="http://schemas.microsoft.com/office/drawing/2014/main" id="{3CBCBADE-C4DB-4184-DCA2-D415EB55E9CF}"/>
              </a:ext>
            </a:extLst>
          </p:cNvPr>
          <p:cNvGrpSpPr/>
          <p:nvPr>
            <p:custDataLst>
              <p:tags r:id="rId36"/>
            </p:custDataLst>
          </p:nvPr>
        </p:nvGrpSpPr>
        <p:grpSpPr>
          <a:xfrm>
            <a:off x="0" y="944429"/>
            <a:ext cx="7396314" cy="257443"/>
            <a:chOff x="0" y="876300"/>
            <a:chExt cx="7396314" cy="257443"/>
          </a:xfrm>
        </p:grpSpPr>
        <p:sp>
          <p:nvSpPr>
            <p:cNvPr id="55" name="btfpRunningAgenda2LevelBarLeft873389">
              <a:extLst>
                <a:ext uri="{FF2B5EF4-FFF2-40B4-BE49-F238E27FC236}">
                  <a16:creationId xmlns:a16="http://schemas.microsoft.com/office/drawing/2014/main" id="{CF159944-9272-C955-C768-CE4BC28D4155}"/>
                </a:ext>
              </a:extLst>
            </p:cNvPr>
            <p:cNvSpPr/>
            <p:nvPr/>
          </p:nvSpPr>
          <p:spPr bwMode="gray">
            <a:xfrm>
              <a:off x="0" y="876300"/>
              <a:ext cx="3650259" cy="257443"/>
            </a:xfrm>
            <a:custGeom>
              <a:avLst/>
              <a:gdLst/>
              <a:ahLst/>
              <a:cxnLst/>
              <a:rect l="0" t="0" r="0" b="0"/>
              <a:pathLst>
                <a:path w="3650259" h="257443">
                  <a:moveTo>
                    <a:pt x="0" y="0"/>
                  </a:moveTo>
                  <a:lnTo>
                    <a:pt x="3650258" y="0"/>
                  </a:lnTo>
                  <a:lnTo>
                    <a:pt x="3595537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0" name="btfpRunningAgenda2LevelTextLeft873389">
              <a:extLst>
                <a:ext uri="{FF2B5EF4-FFF2-40B4-BE49-F238E27FC236}">
                  <a16:creationId xmlns:a16="http://schemas.microsoft.com/office/drawing/2014/main" id="{FD6BED25-1F73-ACE5-DF50-0EA19D3AE30E}"/>
                </a:ext>
              </a:extLst>
            </p:cNvPr>
            <p:cNvSpPr txBox="1"/>
            <p:nvPr/>
          </p:nvSpPr>
          <p:spPr bwMode="gray">
            <a:xfrm>
              <a:off x="0" y="876300"/>
              <a:ext cx="35955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sentiment</a:t>
              </a:r>
            </a:p>
          </p:txBody>
        </p:sp>
        <p:sp>
          <p:nvSpPr>
            <p:cNvPr id="59" name="btfpRunningAgenda2LevelBarRight873389">
              <a:extLst>
                <a:ext uri="{FF2B5EF4-FFF2-40B4-BE49-F238E27FC236}">
                  <a16:creationId xmlns:a16="http://schemas.microsoft.com/office/drawing/2014/main" id="{7E994A14-102A-E507-00CD-E403E459D26D}"/>
                </a:ext>
              </a:extLst>
            </p:cNvPr>
            <p:cNvSpPr/>
            <p:nvPr/>
          </p:nvSpPr>
          <p:spPr bwMode="gray">
            <a:xfrm>
              <a:off x="3515416" y="876300"/>
              <a:ext cx="3880898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259987 w 1259987"/>
                <a:gd name="connsiteY0" fmla="*/ 0 h 257442"/>
                <a:gd name="connsiteX1" fmla="*/ 880049 w 1259987"/>
                <a:gd name="connsiteY1" fmla="*/ 257442 h 257442"/>
                <a:gd name="connsiteX2" fmla="*/ 0 w 1259987"/>
                <a:gd name="connsiteY2" fmla="*/ 257442 h 257442"/>
                <a:gd name="connsiteX3" fmla="*/ 54721 w 1259987"/>
                <a:gd name="connsiteY3" fmla="*/ 0 h 257442"/>
                <a:gd name="connsiteX0" fmla="*/ 1259987 w 1259987"/>
                <a:gd name="connsiteY0" fmla="*/ 0 h 257442"/>
                <a:gd name="connsiteX1" fmla="*/ 1205266 w 1259987"/>
                <a:gd name="connsiteY1" fmla="*/ 257442 h 257442"/>
                <a:gd name="connsiteX2" fmla="*/ 0 w 1259987"/>
                <a:gd name="connsiteY2" fmla="*/ 257442 h 257442"/>
                <a:gd name="connsiteX3" fmla="*/ 54721 w 1259987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54722 w 1259988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54721 w 1259988"/>
                <a:gd name="connsiteY3" fmla="*/ 0 h 257442"/>
                <a:gd name="connsiteX0" fmla="*/ 1437921 w 1437921"/>
                <a:gd name="connsiteY0" fmla="*/ 0 h 257442"/>
                <a:gd name="connsiteX1" fmla="*/ 1205267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598221 w 1598221"/>
                <a:gd name="connsiteY0" fmla="*/ 0 h 257442"/>
                <a:gd name="connsiteX1" fmla="*/ 13832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851496 w 1851496"/>
                <a:gd name="connsiteY0" fmla="*/ 0 h 257442"/>
                <a:gd name="connsiteX1" fmla="*/ 1543500 w 1851496"/>
                <a:gd name="connsiteY1" fmla="*/ 257442 h 257442"/>
                <a:gd name="connsiteX2" fmla="*/ 0 w 1851496"/>
                <a:gd name="connsiteY2" fmla="*/ 257442 h 257442"/>
                <a:gd name="connsiteX3" fmla="*/ 54721 w 1851496"/>
                <a:gd name="connsiteY3" fmla="*/ 0 h 257442"/>
                <a:gd name="connsiteX0" fmla="*/ 1851496 w 1851496"/>
                <a:gd name="connsiteY0" fmla="*/ 0 h 257442"/>
                <a:gd name="connsiteX1" fmla="*/ 1796774 w 1851496"/>
                <a:gd name="connsiteY1" fmla="*/ 257442 h 257442"/>
                <a:gd name="connsiteX2" fmla="*/ 0 w 1851496"/>
                <a:gd name="connsiteY2" fmla="*/ 257442 h 257442"/>
                <a:gd name="connsiteX3" fmla="*/ 54721 w 1851496"/>
                <a:gd name="connsiteY3" fmla="*/ 0 h 257442"/>
                <a:gd name="connsiteX0" fmla="*/ 1851497 w 1851497"/>
                <a:gd name="connsiteY0" fmla="*/ 0 h 257442"/>
                <a:gd name="connsiteX1" fmla="*/ 1796775 w 1851497"/>
                <a:gd name="connsiteY1" fmla="*/ 257442 h 257442"/>
                <a:gd name="connsiteX2" fmla="*/ 0 w 1851497"/>
                <a:gd name="connsiteY2" fmla="*/ 257442 h 257442"/>
                <a:gd name="connsiteX3" fmla="*/ 54722 w 1851497"/>
                <a:gd name="connsiteY3" fmla="*/ 0 h 257442"/>
                <a:gd name="connsiteX0" fmla="*/ 1851497 w 1851497"/>
                <a:gd name="connsiteY0" fmla="*/ 0 h 257442"/>
                <a:gd name="connsiteX1" fmla="*/ 1796775 w 1851497"/>
                <a:gd name="connsiteY1" fmla="*/ 257442 h 257442"/>
                <a:gd name="connsiteX2" fmla="*/ 0 w 1851497"/>
                <a:gd name="connsiteY2" fmla="*/ 257442 h 257442"/>
                <a:gd name="connsiteX3" fmla="*/ 54722 w 1851497"/>
                <a:gd name="connsiteY3" fmla="*/ 0 h 257442"/>
                <a:gd name="connsiteX0" fmla="*/ 2019813 w 2019813"/>
                <a:gd name="connsiteY0" fmla="*/ 0 h 257442"/>
                <a:gd name="connsiteX1" fmla="*/ 1796775 w 2019813"/>
                <a:gd name="connsiteY1" fmla="*/ 257442 h 257442"/>
                <a:gd name="connsiteX2" fmla="*/ 0 w 2019813"/>
                <a:gd name="connsiteY2" fmla="*/ 257442 h 257442"/>
                <a:gd name="connsiteX3" fmla="*/ 54722 w 2019813"/>
                <a:gd name="connsiteY3" fmla="*/ 0 h 257442"/>
                <a:gd name="connsiteX0" fmla="*/ 2019813 w 2019813"/>
                <a:gd name="connsiteY0" fmla="*/ 0 h 257442"/>
                <a:gd name="connsiteX1" fmla="*/ 1965092 w 2019813"/>
                <a:gd name="connsiteY1" fmla="*/ 257442 h 257442"/>
                <a:gd name="connsiteX2" fmla="*/ 0 w 2019813"/>
                <a:gd name="connsiteY2" fmla="*/ 257442 h 257442"/>
                <a:gd name="connsiteX3" fmla="*/ 54722 w 2019813"/>
                <a:gd name="connsiteY3" fmla="*/ 0 h 257442"/>
                <a:gd name="connsiteX0" fmla="*/ 2019812 w 2019812"/>
                <a:gd name="connsiteY0" fmla="*/ 0 h 257442"/>
                <a:gd name="connsiteX1" fmla="*/ 1965091 w 2019812"/>
                <a:gd name="connsiteY1" fmla="*/ 257442 h 257442"/>
                <a:gd name="connsiteX2" fmla="*/ 0 w 2019812"/>
                <a:gd name="connsiteY2" fmla="*/ 257442 h 257442"/>
                <a:gd name="connsiteX3" fmla="*/ 54721 w 2019812"/>
                <a:gd name="connsiteY3" fmla="*/ 0 h 257442"/>
                <a:gd name="connsiteX0" fmla="*/ 2019812 w 2019812"/>
                <a:gd name="connsiteY0" fmla="*/ 0 h 257442"/>
                <a:gd name="connsiteX1" fmla="*/ 1965091 w 2019812"/>
                <a:gd name="connsiteY1" fmla="*/ 257442 h 257442"/>
                <a:gd name="connsiteX2" fmla="*/ 0 w 2019812"/>
                <a:gd name="connsiteY2" fmla="*/ 257442 h 257442"/>
                <a:gd name="connsiteX3" fmla="*/ 54720 w 2019812"/>
                <a:gd name="connsiteY3" fmla="*/ 0 h 257442"/>
                <a:gd name="connsiteX0" fmla="*/ 2188126 w 2188126"/>
                <a:gd name="connsiteY0" fmla="*/ 0 h 257442"/>
                <a:gd name="connsiteX1" fmla="*/ 1965091 w 2188126"/>
                <a:gd name="connsiteY1" fmla="*/ 257442 h 257442"/>
                <a:gd name="connsiteX2" fmla="*/ 0 w 2188126"/>
                <a:gd name="connsiteY2" fmla="*/ 257442 h 257442"/>
                <a:gd name="connsiteX3" fmla="*/ 54720 w 2188126"/>
                <a:gd name="connsiteY3" fmla="*/ 0 h 257442"/>
                <a:gd name="connsiteX0" fmla="*/ 2188126 w 2188126"/>
                <a:gd name="connsiteY0" fmla="*/ 0 h 257442"/>
                <a:gd name="connsiteX1" fmla="*/ 2133405 w 2188126"/>
                <a:gd name="connsiteY1" fmla="*/ 257442 h 257442"/>
                <a:gd name="connsiteX2" fmla="*/ 0 w 2188126"/>
                <a:gd name="connsiteY2" fmla="*/ 257442 h 257442"/>
                <a:gd name="connsiteX3" fmla="*/ 54720 w 2188126"/>
                <a:gd name="connsiteY3" fmla="*/ 0 h 257442"/>
                <a:gd name="connsiteX0" fmla="*/ 2188127 w 2188127"/>
                <a:gd name="connsiteY0" fmla="*/ 0 h 257442"/>
                <a:gd name="connsiteX1" fmla="*/ 2133406 w 2188127"/>
                <a:gd name="connsiteY1" fmla="*/ 257442 h 257442"/>
                <a:gd name="connsiteX2" fmla="*/ 0 w 2188127"/>
                <a:gd name="connsiteY2" fmla="*/ 257442 h 257442"/>
                <a:gd name="connsiteX3" fmla="*/ 54721 w 2188127"/>
                <a:gd name="connsiteY3" fmla="*/ 0 h 257442"/>
                <a:gd name="connsiteX0" fmla="*/ 2188127 w 2188127"/>
                <a:gd name="connsiteY0" fmla="*/ 0 h 257442"/>
                <a:gd name="connsiteX1" fmla="*/ 2133406 w 2188127"/>
                <a:gd name="connsiteY1" fmla="*/ 257442 h 257442"/>
                <a:gd name="connsiteX2" fmla="*/ 0 w 2188127"/>
                <a:gd name="connsiteY2" fmla="*/ 257442 h 257442"/>
                <a:gd name="connsiteX3" fmla="*/ 54722 w 2188127"/>
                <a:gd name="connsiteY3" fmla="*/ 0 h 257442"/>
                <a:gd name="connsiteX0" fmla="*/ 2356443 w 2356443"/>
                <a:gd name="connsiteY0" fmla="*/ 0 h 257442"/>
                <a:gd name="connsiteX1" fmla="*/ 2133406 w 2356443"/>
                <a:gd name="connsiteY1" fmla="*/ 257442 h 257442"/>
                <a:gd name="connsiteX2" fmla="*/ 0 w 2356443"/>
                <a:gd name="connsiteY2" fmla="*/ 257442 h 257442"/>
                <a:gd name="connsiteX3" fmla="*/ 54722 w 2356443"/>
                <a:gd name="connsiteY3" fmla="*/ 0 h 257442"/>
                <a:gd name="connsiteX0" fmla="*/ 2356443 w 2356443"/>
                <a:gd name="connsiteY0" fmla="*/ 0 h 257442"/>
                <a:gd name="connsiteX1" fmla="*/ 2301722 w 2356443"/>
                <a:gd name="connsiteY1" fmla="*/ 257442 h 257442"/>
                <a:gd name="connsiteX2" fmla="*/ 0 w 2356443"/>
                <a:gd name="connsiteY2" fmla="*/ 257442 h 257442"/>
                <a:gd name="connsiteX3" fmla="*/ 54722 w 2356443"/>
                <a:gd name="connsiteY3" fmla="*/ 0 h 257442"/>
                <a:gd name="connsiteX0" fmla="*/ 2356442 w 2356442"/>
                <a:gd name="connsiteY0" fmla="*/ 0 h 257442"/>
                <a:gd name="connsiteX1" fmla="*/ 2301721 w 2356442"/>
                <a:gd name="connsiteY1" fmla="*/ 257442 h 257442"/>
                <a:gd name="connsiteX2" fmla="*/ 0 w 2356442"/>
                <a:gd name="connsiteY2" fmla="*/ 257442 h 257442"/>
                <a:gd name="connsiteX3" fmla="*/ 54721 w 2356442"/>
                <a:gd name="connsiteY3" fmla="*/ 0 h 257442"/>
                <a:gd name="connsiteX0" fmla="*/ 2356442 w 2356442"/>
                <a:gd name="connsiteY0" fmla="*/ 0 h 257442"/>
                <a:gd name="connsiteX1" fmla="*/ 2301721 w 2356442"/>
                <a:gd name="connsiteY1" fmla="*/ 257442 h 257442"/>
                <a:gd name="connsiteX2" fmla="*/ 0 w 2356442"/>
                <a:gd name="connsiteY2" fmla="*/ 257442 h 257442"/>
                <a:gd name="connsiteX3" fmla="*/ 54720 w 2356442"/>
                <a:gd name="connsiteY3" fmla="*/ 0 h 257442"/>
                <a:gd name="connsiteX0" fmla="*/ 2524756 w 2524756"/>
                <a:gd name="connsiteY0" fmla="*/ 0 h 257442"/>
                <a:gd name="connsiteX1" fmla="*/ 2301721 w 2524756"/>
                <a:gd name="connsiteY1" fmla="*/ 257442 h 257442"/>
                <a:gd name="connsiteX2" fmla="*/ 0 w 2524756"/>
                <a:gd name="connsiteY2" fmla="*/ 257442 h 257442"/>
                <a:gd name="connsiteX3" fmla="*/ 54720 w 2524756"/>
                <a:gd name="connsiteY3" fmla="*/ 0 h 257442"/>
                <a:gd name="connsiteX0" fmla="*/ 2524756 w 2524756"/>
                <a:gd name="connsiteY0" fmla="*/ 0 h 257442"/>
                <a:gd name="connsiteX1" fmla="*/ 2470035 w 2524756"/>
                <a:gd name="connsiteY1" fmla="*/ 257442 h 257442"/>
                <a:gd name="connsiteX2" fmla="*/ 0 w 2524756"/>
                <a:gd name="connsiteY2" fmla="*/ 257442 h 257442"/>
                <a:gd name="connsiteX3" fmla="*/ 54720 w 2524756"/>
                <a:gd name="connsiteY3" fmla="*/ 0 h 257442"/>
                <a:gd name="connsiteX0" fmla="*/ 2524757 w 2524757"/>
                <a:gd name="connsiteY0" fmla="*/ 0 h 257442"/>
                <a:gd name="connsiteX1" fmla="*/ 2470036 w 2524757"/>
                <a:gd name="connsiteY1" fmla="*/ 257442 h 257442"/>
                <a:gd name="connsiteX2" fmla="*/ 0 w 2524757"/>
                <a:gd name="connsiteY2" fmla="*/ 257442 h 257442"/>
                <a:gd name="connsiteX3" fmla="*/ 54721 w 2524757"/>
                <a:gd name="connsiteY3" fmla="*/ 0 h 257442"/>
                <a:gd name="connsiteX0" fmla="*/ 2524757 w 2524757"/>
                <a:gd name="connsiteY0" fmla="*/ 0 h 257442"/>
                <a:gd name="connsiteX1" fmla="*/ 2470036 w 2524757"/>
                <a:gd name="connsiteY1" fmla="*/ 257442 h 257442"/>
                <a:gd name="connsiteX2" fmla="*/ 0 w 2524757"/>
                <a:gd name="connsiteY2" fmla="*/ 257442 h 257442"/>
                <a:gd name="connsiteX3" fmla="*/ 54722 w 2524757"/>
                <a:gd name="connsiteY3" fmla="*/ 0 h 257442"/>
                <a:gd name="connsiteX0" fmla="*/ 2693074 w 2693074"/>
                <a:gd name="connsiteY0" fmla="*/ 0 h 257442"/>
                <a:gd name="connsiteX1" fmla="*/ 2470036 w 2693074"/>
                <a:gd name="connsiteY1" fmla="*/ 257442 h 257442"/>
                <a:gd name="connsiteX2" fmla="*/ 0 w 2693074"/>
                <a:gd name="connsiteY2" fmla="*/ 257442 h 257442"/>
                <a:gd name="connsiteX3" fmla="*/ 54722 w 2693074"/>
                <a:gd name="connsiteY3" fmla="*/ 0 h 257442"/>
                <a:gd name="connsiteX0" fmla="*/ 2693074 w 2693074"/>
                <a:gd name="connsiteY0" fmla="*/ 0 h 257442"/>
                <a:gd name="connsiteX1" fmla="*/ 2638352 w 2693074"/>
                <a:gd name="connsiteY1" fmla="*/ 257442 h 257442"/>
                <a:gd name="connsiteX2" fmla="*/ 0 w 2693074"/>
                <a:gd name="connsiteY2" fmla="*/ 257442 h 257442"/>
                <a:gd name="connsiteX3" fmla="*/ 54722 w 2693074"/>
                <a:gd name="connsiteY3" fmla="*/ 0 h 257442"/>
                <a:gd name="connsiteX0" fmla="*/ 2693074 w 2693074"/>
                <a:gd name="connsiteY0" fmla="*/ 0 h 257442"/>
                <a:gd name="connsiteX1" fmla="*/ 2638352 w 2693074"/>
                <a:gd name="connsiteY1" fmla="*/ 257442 h 257442"/>
                <a:gd name="connsiteX2" fmla="*/ 0 w 2693074"/>
                <a:gd name="connsiteY2" fmla="*/ 257442 h 257442"/>
                <a:gd name="connsiteX3" fmla="*/ 54722 w 2693074"/>
                <a:gd name="connsiteY3" fmla="*/ 0 h 257442"/>
                <a:gd name="connsiteX0" fmla="*/ 2693074 w 2693074"/>
                <a:gd name="connsiteY0" fmla="*/ 0 h 257442"/>
                <a:gd name="connsiteX1" fmla="*/ 2638352 w 2693074"/>
                <a:gd name="connsiteY1" fmla="*/ 257442 h 257442"/>
                <a:gd name="connsiteX2" fmla="*/ 0 w 2693074"/>
                <a:gd name="connsiteY2" fmla="*/ 257442 h 257442"/>
                <a:gd name="connsiteX3" fmla="*/ 54721 w 2693074"/>
                <a:gd name="connsiteY3" fmla="*/ 0 h 257442"/>
                <a:gd name="connsiteX0" fmla="*/ 2962377 w 2962377"/>
                <a:gd name="connsiteY0" fmla="*/ 0 h 257442"/>
                <a:gd name="connsiteX1" fmla="*/ 2638352 w 2962377"/>
                <a:gd name="connsiteY1" fmla="*/ 257442 h 257442"/>
                <a:gd name="connsiteX2" fmla="*/ 0 w 2962377"/>
                <a:gd name="connsiteY2" fmla="*/ 257442 h 257442"/>
                <a:gd name="connsiteX3" fmla="*/ 54721 w 2962377"/>
                <a:gd name="connsiteY3" fmla="*/ 0 h 257442"/>
                <a:gd name="connsiteX0" fmla="*/ 2962377 w 2962377"/>
                <a:gd name="connsiteY0" fmla="*/ 0 h 257442"/>
                <a:gd name="connsiteX1" fmla="*/ 2907656 w 2962377"/>
                <a:gd name="connsiteY1" fmla="*/ 257442 h 257442"/>
                <a:gd name="connsiteX2" fmla="*/ 0 w 2962377"/>
                <a:gd name="connsiteY2" fmla="*/ 257442 h 257442"/>
                <a:gd name="connsiteX3" fmla="*/ 54721 w 2962377"/>
                <a:gd name="connsiteY3" fmla="*/ 0 h 257442"/>
                <a:gd name="connsiteX0" fmla="*/ 2962377 w 2962377"/>
                <a:gd name="connsiteY0" fmla="*/ 0 h 257442"/>
                <a:gd name="connsiteX1" fmla="*/ 2907656 w 2962377"/>
                <a:gd name="connsiteY1" fmla="*/ 257442 h 257442"/>
                <a:gd name="connsiteX2" fmla="*/ 0 w 2962377"/>
                <a:gd name="connsiteY2" fmla="*/ 257442 h 257442"/>
                <a:gd name="connsiteX3" fmla="*/ 54721 w 2962377"/>
                <a:gd name="connsiteY3" fmla="*/ 0 h 257442"/>
                <a:gd name="connsiteX0" fmla="*/ 2962377 w 2962377"/>
                <a:gd name="connsiteY0" fmla="*/ 0 h 257442"/>
                <a:gd name="connsiteX1" fmla="*/ 2907656 w 2962377"/>
                <a:gd name="connsiteY1" fmla="*/ 257442 h 257442"/>
                <a:gd name="connsiteX2" fmla="*/ 0 w 2962377"/>
                <a:gd name="connsiteY2" fmla="*/ 257442 h 257442"/>
                <a:gd name="connsiteX3" fmla="*/ 54721 w 2962377"/>
                <a:gd name="connsiteY3" fmla="*/ 0 h 257442"/>
                <a:gd name="connsiteX0" fmla="*/ 3130692 w 3130692"/>
                <a:gd name="connsiteY0" fmla="*/ 0 h 257442"/>
                <a:gd name="connsiteX1" fmla="*/ 2907656 w 3130692"/>
                <a:gd name="connsiteY1" fmla="*/ 257442 h 257442"/>
                <a:gd name="connsiteX2" fmla="*/ 0 w 3130692"/>
                <a:gd name="connsiteY2" fmla="*/ 257442 h 257442"/>
                <a:gd name="connsiteX3" fmla="*/ 54721 w 3130692"/>
                <a:gd name="connsiteY3" fmla="*/ 0 h 257442"/>
                <a:gd name="connsiteX0" fmla="*/ 3130692 w 3130692"/>
                <a:gd name="connsiteY0" fmla="*/ 0 h 257442"/>
                <a:gd name="connsiteX1" fmla="*/ 3075970 w 3130692"/>
                <a:gd name="connsiteY1" fmla="*/ 257442 h 257442"/>
                <a:gd name="connsiteX2" fmla="*/ 0 w 3130692"/>
                <a:gd name="connsiteY2" fmla="*/ 257442 h 257442"/>
                <a:gd name="connsiteX3" fmla="*/ 54721 w 3130692"/>
                <a:gd name="connsiteY3" fmla="*/ 0 h 257442"/>
                <a:gd name="connsiteX0" fmla="*/ 3130693 w 3130693"/>
                <a:gd name="connsiteY0" fmla="*/ 0 h 257442"/>
                <a:gd name="connsiteX1" fmla="*/ 3075971 w 3130693"/>
                <a:gd name="connsiteY1" fmla="*/ 257442 h 257442"/>
                <a:gd name="connsiteX2" fmla="*/ 0 w 3130693"/>
                <a:gd name="connsiteY2" fmla="*/ 257442 h 257442"/>
                <a:gd name="connsiteX3" fmla="*/ 54722 w 3130693"/>
                <a:gd name="connsiteY3" fmla="*/ 0 h 257442"/>
                <a:gd name="connsiteX0" fmla="*/ 3130693 w 3130693"/>
                <a:gd name="connsiteY0" fmla="*/ 0 h 257442"/>
                <a:gd name="connsiteX1" fmla="*/ 3075971 w 3130693"/>
                <a:gd name="connsiteY1" fmla="*/ 257442 h 257442"/>
                <a:gd name="connsiteX2" fmla="*/ 0 w 3130693"/>
                <a:gd name="connsiteY2" fmla="*/ 257442 h 257442"/>
                <a:gd name="connsiteX3" fmla="*/ 54722 w 3130693"/>
                <a:gd name="connsiteY3" fmla="*/ 0 h 257442"/>
                <a:gd name="connsiteX0" fmla="*/ 3391983 w 3391983"/>
                <a:gd name="connsiteY0" fmla="*/ 0 h 257442"/>
                <a:gd name="connsiteX1" fmla="*/ 3075971 w 3391983"/>
                <a:gd name="connsiteY1" fmla="*/ 257442 h 257442"/>
                <a:gd name="connsiteX2" fmla="*/ 0 w 3391983"/>
                <a:gd name="connsiteY2" fmla="*/ 257442 h 257442"/>
                <a:gd name="connsiteX3" fmla="*/ 54722 w 3391983"/>
                <a:gd name="connsiteY3" fmla="*/ 0 h 257442"/>
                <a:gd name="connsiteX0" fmla="*/ 3391983 w 3391983"/>
                <a:gd name="connsiteY0" fmla="*/ 0 h 257442"/>
                <a:gd name="connsiteX1" fmla="*/ 3337262 w 3391983"/>
                <a:gd name="connsiteY1" fmla="*/ 257442 h 257442"/>
                <a:gd name="connsiteX2" fmla="*/ 0 w 3391983"/>
                <a:gd name="connsiteY2" fmla="*/ 257442 h 257442"/>
                <a:gd name="connsiteX3" fmla="*/ 54722 w 3391983"/>
                <a:gd name="connsiteY3" fmla="*/ 0 h 257442"/>
                <a:gd name="connsiteX0" fmla="*/ 3391982 w 3391982"/>
                <a:gd name="connsiteY0" fmla="*/ 0 h 257442"/>
                <a:gd name="connsiteX1" fmla="*/ 3337261 w 3391982"/>
                <a:gd name="connsiteY1" fmla="*/ 257442 h 257442"/>
                <a:gd name="connsiteX2" fmla="*/ 0 w 3391982"/>
                <a:gd name="connsiteY2" fmla="*/ 257442 h 257442"/>
                <a:gd name="connsiteX3" fmla="*/ 54721 w 3391982"/>
                <a:gd name="connsiteY3" fmla="*/ 0 h 257442"/>
                <a:gd name="connsiteX0" fmla="*/ 3391982 w 3391982"/>
                <a:gd name="connsiteY0" fmla="*/ 0 h 257442"/>
                <a:gd name="connsiteX1" fmla="*/ 3337261 w 3391982"/>
                <a:gd name="connsiteY1" fmla="*/ 257442 h 257442"/>
                <a:gd name="connsiteX2" fmla="*/ 0 w 3391982"/>
                <a:gd name="connsiteY2" fmla="*/ 257442 h 257442"/>
                <a:gd name="connsiteX3" fmla="*/ 54720 w 3391982"/>
                <a:gd name="connsiteY3" fmla="*/ 0 h 257442"/>
                <a:gd name="connsiteX0" fmla="*/ 3552282 w 3552282"/>
                <a:gd name="connsiteY0" fmla="*/ 0 h 257442"/>
                <a:gd name="connsiteX1" fmla="*/ 3337261 w 3552282"/>
                <a:gd name="connsiteY1" fmla="*/ 257442 h 257442"/>
                <a:gd name="connsiteX2" fmla="*/ 0 w 3552282"/>
                <a:gd name="connsiteY2" fmla="*/ 257442 h 257442"/>
                <a:gd name="connsiteX3" fmla="*/ 54720 w 3552282"/>
                <a:gd name="connsiteY3" fmla="*/ 0 h 257442"/>
                <a:gd name="connsiteX0" fmla="*/ 3552282 w 3552282"/>
                <a:gd name="connsiteY0" fmla="*/ 0 h 257442"/>
                <a:gd name="connsiteX1" fmla="*/ 3497561 w 3552282"/>
                <a:gd name="connsiteY1" fmla="*/ 257442 h 257442"/>
                <a:gd name="connsiteX2" fmla="*/ 0 w 3552282"/>
                <a:gd name="connsiteY2" fmla="*/ 257442 h 257442"/>
                <a:gd name="connsiteX3" fmla="*/ 54720 w 3552282"/>
                <a:gd name="connsiteY3" fmla="*/ 0 h 257442"/>
                <a:gd name="connsiteX0" fmla="*/ 3552283 w 3552283"/>
                <a:gd name="connsiteY0" fmla="*/ 0 h 257442"/>
                <a:gd name="connsiteX1" fmla="*/ 3497562 w 3552283"/>
                <a:gd name="connsiteY1" fmla="*/ 257442 h 257442"/>
                <a:gd name="connsiteX2" fmla="*/ 0 w 3552283"/>
                <a:gd name="connsiteY2" fmla="*/ 257442 h 257442"/>
                <a:gd name="connsiteX3" fmla="*/ 54721 w 3552283"/>
                <a:gd name="connsiteY3" fmla="*/ 0 h 257442"/>
                <a:gd name="connsiteX0" fmla="*/ 3552283 w 3552283"/>
                <a:gd name="connsiteY0" fmla="*/ 0 h 257442"/>
                <a:gd name="connsiteX1" fmla="*/ 3497562 w 3552283"/>
                <a:gd name="connsiteY1" fmla="*/ 257442 h 257442"/>
                <a:gd name="connsiteX2" fmla="*/ 0 w 3552283"/>
                <a:gd name="connsiteY2" fmla="*/ 257442 h 257442"/>
                <a:gd name="connsiteX3" fmla="*/ 54722 w 3552283"/>
                <a:gd name="connsiteY3" fmla="*/ 0 h 257442"/>
                <a:gd name="connsiteX0" fmla="*/ 3720598 w 3720598"/>
                <a:gd name="connsiteY0" fmla="*/ 0 h 257442"/>
                <a:gd name="connsiteX1" fmla="*/ 3497562 w 3720598"/>
                <a:gd name="connsiteY1" fmla="*/ 257442 h 257442"/>
                <a:gd name="connsiteX2" fmla="*/ 0 w 3720598"/>
                <a:gd name="connsiteY2" fmla="*/ 257442 h 257442"/>
                <a:gd name="connsiteX3" fmla="*/ 54722 w 3720598"/>
                <a:gd name="connsiteY3" fmla="*/ 0 h 257442"/>
                <a:gd name="connsiteX0" fmla="*/ 3720598 w 3720598"/>
                <a:gd name="connsiteY0" fmla="*/ 0 h 257442"/>
                <a:gd name="connsiteX1" fmla="*/ 3665876 w 3720598"/>
                <a:gd name="connsiteY1" fmla="*/ 257442 h 257442"/>
                <a:gd name="connsiteX2" fmla="*/ 0 w 3720598"/>
                <a:gd name="connsiteY2" fmla="*/ 257442 h 257442"/>
                <a:gd name="connsiteX3" fmla="*/ 54722 w 3720598"/>
                <a:gd name="connsiteY3" fmla="*/ 0 h 257442"/>
                <a:gd name="connsiteX0" fmla="*/ 3720598 w 3720598"/>
                <a:gd name="connsiteY0" fmla="*/ 0 h 257442"/>
                <a:gd name="connsiteX1" fmla="*/ 3665876 w 3720598"/>
                <a:gd name="connsiteY1" fmla="*/ 257442 h 257442"/>
                <a:gd name="connsiteX2" fmla="*/ 0 w 3720598"/>
                <a:gd name="connsiteY2" fmla="*/ 257442 h 257442"/>
                <a:gd name="connsiteX3" fmla="*/ 54722 w 3720598"/>
                <a:gd name="connsiteY3" fmla="*/ 0 h 257442"/>
                <a:gd name="connsiteX0" fmla="*/ 3720598 w 3720598"/>
                <a:gd name="connsiteY0" fmla="*/ 0 h 257442"/>
                <a:gd name="connsiteX1" fmla="*/ 3665876 w 3720598"/>
                <a:gd name="connsiteY1" fmla="*/ 257442 h 257442"/>
                <a:gd name="connsiteX2" fmla="*/ 0 w 3720598"/>
                <a:gd name="connsiteY2" fmla="*/ 257442 h 257442"/>
                <a:gd name="connsiteX3" fmla="*/ 54721 w 3720598"/>
                <a:gd name="connsiteY3" fmla="*/ 0 h 257442"/>
                <a:gd name="connsiteX0" fmla="*/ 3880898 w 3880898"/>
                <a:gd name="connsiteY0" fmla="*/ 0 h 257442"/>
                <a:gd name="connsiteX1" fmla="*/ 3665876 w 3880898"/>
                <a:gd name="connsiteY1" fmla="*/ 257442 h 257442"/>
                <a:gd name="connsiteX2" fmla="*/ 0 w 3880898"/>
                <a:gd name="connsiteY2" fmla="*/ 257442 h 257442"/>
                <a:gd name="connsiteX3" fmla="*/ 54721 w 3880898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54721 w 3880898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54721 w 3880898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54721 w 388089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80898" h="257442">
                  <a:moveTo>
                    <a:pt x="3880898" y="0"/>
                  </a:moveTo>
                  <a:lnTo>
                    <a:pt x="382617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8" name="btfpRunningAgenda2LevelTextRight873389">
              <a:extLst>
                <a:ext uri="{FF2B5EF4-FFF2-40B4-BE49-F238E27FC236}">
                  <a16:creationId xmlns:a16="http://schemas.microsoft.com/office/drawing/2014/main" id="{23625941-0B75-D7B1-38E7-2A16BE04EFD0}"/>
                </a:ext>
              </a:extLst>
            </p:cNvPr>
            <p:cNvSpPr txBox="1"/>
            <p:nvPr/>
          </p:nvSpPr>
          <p:spPr bwMode="gray">
            <a:xfrm>
              <a:off x="3515416" y="876300"/>
              <a:ext cx="382617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Target brand drivers</a:t>
              </a:r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78144C13-751A-E375-5692-863741464823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2" y="950918"/>
            <a:ext cx="257175" cy="250258"/>
          </a:xfrm>
          <a:prstGeom prst="rect">
            <a:avLst/>
          </a:prstGeom>
        </p:spPr>
      </p:pic>
      <p:sp>
        <p:nvSpPr>
          <p:cNvPr id="8" name="btfpQuoteBox701730">
            <a:extLst>
              <a:ext uri="{FF2B5EF4-FFF2-40B4-BE49-F238E27FC236}">
                <a16:creationId xmlns:a16="http://schemas.microsoft.com/office/drawing/2014/main" id="{E1522E27-4F02-178A-1116-BB10AFFB7483}"/>
              </a:ext>
            </a:extLst>
          </p:cNvPr>
          <p:cNvSpPr txBox="1"/>
          <p:nvPr>
            <p:custDataLst>
              <p:tags r:id="rId37"/>
            </p:custDataLst>
          </p:nvPr>
        </p:nvSpPr>
        <p:spPr bwMode="gray">
          <a:xfrm>
            <a:off x="5209591" y="5027737"/>
            <a:ext cx="6549120" cy="34977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  <a:defRPr/>
            </a:pPr>
            <a:r>
              <a:rPr kumimoji="0" lang="en-US" sz="9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Just got the </a:t>
            </a:r>
            <a:r>
              <a:rPr kumimoji="0" lang="en-US" sz="900" b="1" i="1" u="none" strike="noStrike" kern="1200" cap="none" spc="0" normalizeH="0" baseline="0" noProof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lular installed for the fire alarm system. Installer was very professional and answered every question</a:t>
            </a:r>
            <a:r>
              <a:rPr kumimoji="0" lang="en-US" sz="9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 had and did a good job!”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7496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Warsaw SSC"/>
  <p:tag name="MEKKOFORMATS" val="&lt;MekkoFormats&gt;&lt;NumberFormat DecimalSeparator=&quot;,&quot; ThousandSeparator=&quot;.&quot; NegativeNumberFormat=&quot;1&quot; /&gt;&lt;DateFormat CultureID=&quot;1033&quot; FormatString=&quot;M/d/yyyy&quot; /&gt;&lt;Font&gt;&lt;Output_Font_Name Default=&quot;Arial&quot; UsePPTTheme=&quot;True&quot; /&gt;&lt;/Font&gt;&lt;/MekkoFormats&gt;"/>
  <p:tag name="MEKKOMRUCOLORS" val="&lt;?xml version=&quot;1.0&quot; encoding=&quot;utf-8&quot;?&gt;&#10;&lt;MRU&gt;&#10;  &lt;CustomColorsMRU&gt;&#10;    &lt;Color aRGB=&quot;FF712C57&quot; Intensity=&quot;3&quot; /&gt;&#10;    &lt;Color aRGB=&quot;FFFF5050&quot; Intensity=&quot;1&quot; /&gt;&#10;  &lt;/CustomColorsMRU&gt;&#10;  &lt;ColorsPatternsMRU&gt;&#10;    &lt;Button ID=&quot;menuSeriesColor&quot; Color=&quot;1&quot; /&gt;&#10;    &lt;Button ID=&quot;menuSegmentColor&quot; Color=&quot;28&quot; /&gt;&#10;    &lt;Button ID=&quot;menuFontColor&quot; Color=&quot;1&quot; /&gt;&#10;  &lt;/ColorsPatternsMRU&gt;&#10;&lt;/MRU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dJY2OMwf8mgoXWrd8S3Dpr8K8e5QDX9l/GOurOelpINCJLA3EC4Lci7vMC6fiShJ1UHdlzzodfzXVhfa9I7ytv6BRy/EX/QD0MuC/l++gvMHIkBB6AlB7BB8SsdaqHqhNYaeJzvHV7QEbyegVP7yvTblHj9Jw5nzodxJ8b5KHYuKYcF4OBsOp8BLTvqcxJG5pw/PPok1rr2bEJoOdp1Qba9BiIgA/ZfIKKrDyJaeamlTpIaEK5amk34kXFmOo/L6xoSTXQBGtF8D32B78V3Kcr19gMx9LLXBLYHmSZTNkQg3jgawazH/wwWaTeQ46F7gBV0SCHjQxJdr8w8MvbRfRO8pY71Cz9zXh0hMni2iTQb1ltILJTw5Qfk+AInxwreSutSpfgvndqvDFdYkLeyKcCyvDgN1ZXYqMVVBFQgCMCW/oxtHCKuoLLhbS+kl57gMlW1crUTfbL7bnStUnCj2wnxRx3N750ZEaXc7ou/u+A8AwmCSBCbW9M4XB6/0ha4ySHjdzKT4+v+6BDD9rfB64iWKgtH8zVq0jwVumKb07sOp1xiH28A/65kxnv7xONRvnu+hk1sRPcc9T0OlkKCO50i3LvT5KZ9y03g00hhsKQbB6BGE1xZKJSRjq7BaDNpAfV3FaJ6n726YsxA4GRQ2mVoTu3HBnTj2bPW3cYYHYznVYxX2wG8M0wN0wu/3TxBMH1MsG2zk14eWRk0NWlOfkZUVlm2LujaPELfGo4bzllv+wdB4RAhmUqZYVnwqkfzDTgu9wjy9E+4pFBgF3UxjsgWiUYUSPkCjRQIQ4pqf1yGTgDPkEftU2MEz7P8ENkda0nHWwyAWRaP8uLYyrElWw7im3wXzoVOV8fj1ryOb3kNZKDYOEvCCgqbB2VtV3gKPfJxkp9Z0SSvyitnhIayR15PaggG+R7gZzc8hyVSvemLHrrCAxmLO/1ZX0Amqn7hubOhXt2td+L9WNsiwuutx9sIddSYEtGIlITFh6og4ZJJT01JyBQaS5P7dlxuim9r3oypKp5vGK5b/dV9LtooLwD0lnZcXU+M6LOIIlsnxgQiyW5d1eYQ47im4Janucw0ELAtopfE4FRPZxrhCSodmVf0/w/6acORcWL0C4nci/Eo67R86AVli+u35K/vH7BPcuq76X84lZDtr2rZPCX9J3Lx/ttFp/cKRR0DOoAn8k+ImvDBYrSLQKRzAYDSTkSMQzf0G9mTyOMpXNKfdVzR0RwloqsMvl4oynvoMfZ2yNvBEpHNX2fQW12mysUaI8HMVbPHlyjiGUy6no3rVzLnaLpyH4q70klqmiXLGnYwb2FZ0v7EABdyA5x0tINar6VmurOurQo+yt1V4LL3haVZF3xxeBpmG8IRy11DpcUQLwChGf2uf85a319c4wT1uYQg+PQatrESJ/YP1kKgvyG8WrxeDLwvr0rXjsW0vUsB1hTMzAdb8ZZAqvHMVvQ3xKICVRxPY1YJaBz0TwAt3qZIE7N+ghwyY5WevkNZERV1jxAAtnS2WaCLqtPurC1GWUSAXTAP3yCCZbUiubmZXPC0UrUrrgpsi6SF7RwslZJpOlNU3aj866rCPYz1aNvKc4F7Y66yMqhk6L8cfYfQNebRiCFRPpRq22sDinZCr8w+VLCLZ2bRjnsugOvlTQV8W1LkGAKyiGcgZTBjYHTIAyKn2tMmKO99OAwruWeHgLIDypYnxrEr0XpW4vrMz1MPY7/Iws1iYmKDE/iIxSuL1sSXjz6baYO7KVNXFLehh6YCD4r/ksZsZKnaTkWvG8y2bkT0Q2RZkNVd8cpPyBoL4nfMa5ie6p2fNMAg8B3mgOiVyHQRMqZ4WX04VjgpRap31yYmyfe3YFlRRhEjvTwZyM9mCVPbFH5/Tjrh2lN5OZTxX45i8aZi94tq/IBCXBg42LYbE8/FHqg3/GpDmFsbmA1kR3dv7n3xwpf5EEiGuWJX5oMP602y7NrMcNfnVuIMrPmQeL3Y8gkbrQzOplS5T6+If9qBjD4Wy6UvbDstx8N2ckJjFhfx7kHPZUMBZCxCTQ+wPNMk6IvhJFsifmNm72JsEMQAlWPY5rO2hIXI8RK2mryQht9CihBL/RFSaiyd1H0DQp9hG0o5ydwpFxgKSdrEq7Espx/0gzVo/pJ58XApCNZz8IWfTpqzIuPpz3c7pP286A6GNnQmaOXKs8ZTxlfMhsxhOt+2/c9TfmakmgFgtueldxVcJLDY8EKbRh0wE4GhWfqc4iQhrejM4c7UJDXgYMTVROl96RyUl1kL7aPWvONnQtvqYEV25xbHdoHieR52zgktkdjraeECCInBP7lkwbDjFSZhLucn66P0wCy4OfU8y8PqHV48DxpIvaPHRpZrKG7tisgxS8KJC6cB0FFGZ1BO2ZJrnFjSBu2ajcLomT+ZAdFkImyp1xtWi5KqvGkD2Lv0Lnm++jtVY637V7WnQCYfKV+iaiPIUZfyFy/bmCxtC0fDMmWXglzXI3QeQok+ZHXjP07YuuNz63vQvIO8GeXyBq4V8lQgdRcaPVr6SHOHtwPAcT5a/uKj/ss+Grg6O5XPKLR6bLsasgJ8dl04Etqn6+luvZkGOfv4Br3+FPRMYiyGI5eDMlxbVDaiwki3UEJI8jEfObqLfrLnIfGCXJrGiBjpzBaiSNNCI9CtznYMfIMDT86QtBTgY0joVGWc+JPyEiVhQ33jPWuP11T5R81Q9u1qK+isJpjgZLCKVC7TtMeS7dHYF0iDeJRLWrmnzR63ZNO6oWtjNaXXBrn2rfLBSmINfcSBlrTmW6byP3f76aGDBRWT2m3pT5LGyGHGQnN2YDhFn3t3V5Jl88CkTCsOPV/FxkPDJW0LHkMDpK6IVHXrPVAboyFULHnkNC4rkGqGMMjs0qQ8R36mDgudyM4tscfN5ZB9onqCxK4J+QqMWn0BCr1KbUgPs/p4w37Qjg8vQjczDAvm4utSt++16OBV8sCEGiCJv7GvnMai9rd2qoxcRGz7qO3I/s4XHuYZTMsFkg3LG6ualgiMAmcXoWS/fzhvysQQ6UrohYrbL5B6uCf4ILuDrvHYa6Mzrtm2Yy36p/IRsly/ebYg5dgG+aerjJ2SIQxYeyvwD3qKnxj+CLdtQ/DCE+lVg1bXHB6bpEtdAcQQfQzzT2cL926RTjxIMgmOadMcdQouwFdGKbHXCEN6hruSGux1xq31FqOVDrsXD4a1MtY+OrNUVkW2izIBOF9fJp5gbwishPIREtcg+MUb7/653JT9rAymVsrJF3hQJphoU1pNajb/F86xfBBHeYVWjJDISc8OF9hoPvw6YX+tpd6i/lU/ZVW7nobVAS+V39QvhecJL9oPgfoSLqssPiZFI+euNh3L+rNBQMGsEucPyeYPGAH6BB9C7WAcbSArRmGOtV1obOjojjhQ+VaBJMi6gw4UUjYmxLlOjm7ZQxQlBqVmnncQFSTllA+2u+2lhQ1mxp4IAlWvc9CTS7xTiu/BEylUzeMsGzoPNu6Atqq0PWQ1j7negyHrfadnDCCFg96Yph0EY/50zcdDHEvyHPcxoiy+HrbFlRIgHmSsrNp4942Wx0I158HYwbsRqgYQeyQgb2wqCE465S/apB4TThaxjxU9Uoyuq4DmdkokHkFhHQjhx+ftsS9QE68xhuarON50QflP30gmxEVNlxGZ83Soa9ejr/6Ew6MdW/3lJDC3K2a2TnN3pfpasJBhx7zNxM5drEEB/pehDm92zzgXl/wSY+JjsW/hjFrjqdPuQ9qddxU8hdgqX4OyOPRPTVcG89Y1jp0fddKJ8OqUusGtokRqSmW34RgOaS9jMbG7SBMriafO0MU+L8weAw1lfSRC8e14WVPTDfshNrCl7cl82rmZtT3RZjs0Wwfg6F47H6geFpfXe8qiovtYJeQpS3hlCVqRf2Qbwd4GkbFe334Jlx/g2W6xD56eL2OBsM5j7QbZB11zwAZEhjXoH/uHWdhBv0MGCcXR2z+mSByvIzX767vPGFky35pjZSxZG+HixFHuR3sjx8wSu8v49vOVMLRoB2R/Of+6f4F25llLSAzpmc42nRZ2CdFuZx6TT8xjjzp3Jc2NSsJX/l6R5u0OfxXQ9d4I6QmG/EOaYkdadJWmXe+/tDb5zn5IuVUiLvWOiN8aTzX3eeZ/JDwaViBC8XnM5XUqyDnjsMGcjD64YSjSUsOS0gXYcguPmtrHlGWzvROM5hNk2nSxz+5J4faE9ZX6eZJzoO8GSuQMuIcOQnM1FQEqpI7/6E+a5w1XbjybTosukM6vQa2xCLEcyanXTWVOmh64f2H0o0dnXXOg76AW9CH4pPq0FP6308Yy+W5MqRwXxdSQjchYr1QH+z1ljhKPjaLsNynsg6mqlrcaQdj5NQsUDYkxIuS0voAuRRYbq0lDpeHjUQgV3fO6l1rrTWiuPtWZEDiFeVZpQOq7HmVHaf09SaBYb/nIa9YHORt7Ic150Jr7VvG+PM+4OOAL1jDhocrLanabg4xPsjDqiYyQnF5c6c+xtWdQf7csAY+xHxskC8a727OcKrRIgkzc6eInZGAJ4ChA/HjsNX+0Ktx69M/vNYIXaxiK5BVoEh1+7/Uy5JXaeIWYhSqG7aNmAMOqG3g4i4xcreDqu/0Qm+ZxhNvCxLruz86RwuOKxYfJDkjEz15rZCcivHE2wMjwfAd/ZAEbr5vUoXNyw1XfC/RV7gjdbWGD56AOxbdqhsIuZvadv/HQN3uJrT16CCP8P3Q0ccJ5lrvWeCMFndNXvt2H61tHGrUiYIcZB+bvADKMz+Aty842TfqhFTlkUzuFaoF7esKMUxzfJqPB7b4XEDu8RCpAIUfHCaHl55JPNtEew+TRGm1U9YnB3dWadl8KtEEz/StjSvxEPiLxV67IFLccqxMTznGs18n6CUsArsVp68IRm4cFDjqnsKRA2sbLYEWxSaYngwzH2u9omvR6cVHb+i3KEcP5qAQCMA4qRc4/zd4cn4SehieuZhN5mXHhCCQ87hbH7TeqOfjtK9QZCBgzMSJCZJ/H2AKYAQTE2LhtcVPtsuwX/xZQSQMmTwLWmMYrlxlR7+2p9QR8jvVaw8saD3Ar7aqP5jrLO4dDpNePgOIqESyIDd0BWBJ1xRPU6MgvIalkvznp6O81aAiTB8ITGrlHme959Mq4bpQkuN05X0gj2LUCSAG1u1KwYBrS6e0kgb3vuTFL2E93KJeRQqdc6GsPddgpjT2eXpcdr6Tk42AG53spygLwddBa4kpxhHOpSyNeOJXK6QeRlJMItbBYDDnBVFara2rDKxxkePwRwvrWuhFk02NRANhQZIrQ9ggZhJVI4ujteOrs33dr6kk78NwaVAJnoHYjRUDyJkKGveRKQqMAIzdPHhzEx8ogPy5ihHdQBG4ZlVFQxDPryspQjICkl/BlkAkeZwQqpc8W3o5KCoXh84xqNTAKDno0k2+TfidCQK+DtYgj4LFDdmcY30P+kHbDfR6ZjNRSw+B9iCDU+TnF77gdDb1Ka7PWwHNwU/G8cULMI8MC5Gwe8cxK4+OjuhHnWfcd2ohQ3XkZn3UfM0KBaEfGJYUARWVdUh3hmyTy5861vghHW5pdH4ZaZcRNCyv4ds7pTe83lEXoXiWZAAKF/gtYENVriq4mXcvqAfsp7JcVhTgAodNRc05N8UdCRT87y5Zrkipx9cpZ4igjpd3j0jCm5KWtvWV+BCJIYYOJO0i0OBmqD3BHW7FLqL+54/loD8dbJwFDrDtpGTs3FcA1V/+VUunbc5KcAdzl6TQUz9uu1GufC+1XrPxevGlTiBETtQ7jEqFx6T94by/ipUT5B4Fv855LqOzXbLZF/zKrUdWeJMfRvTN3bvuCr58pS8wPZNIoudkW5Guk0DgJBsV+gr6SQL+mzbuS1zl4Udsuw2AyhOAZPvjBGMwGtQJ9boDOR6zknpEaGyD+T4IEMn+MDR/lh+ZOyrzdKwm8Ah/SlWxl0Kazc4NRll6rmbkOvJdazFVXb9L68n9ki/K0zZ8sGBH9uq2KoTn8mpH31CC2izOpNnVgbOUrubRlrveJtbAWHkjnYARAu4XhQM/sRXElMFkSzn+zHRKy9//1N92gyDU6zcEL2uRQmzjfm34uabZTIqsRwl6npnudJln28nA58Myda7PJpcavyQ8mdqWQloF8M55OnDc3wEowWnZBqR01Z0kN16qiWB1J4NpBXrEuakME2SrJ+usEYFXr8zzaWPLYnmIWpSxpnxW/AzkL/sCA4fhLiWfaaNI1A8JbhDPN6ZhwWRbl4/Cd+5CJlksJ4hoD6wxGfUSWGtRSAlzfDHlvEgP7a4JtRq9loacuUufBps+ApxcP282AvlHeKob3C1So86bl98UVYHlNjqy8X02StRlhaOimLN5oW9BVDZsN4ISkurKixFO+7vLeboVPtSK48WJnRyRpUfqJrksl3DE1I7PanYmZ+PYAvN3gBE79mYIOfUOnvY0mSemQZnhFCi7TMZD8R2JprUcY5+r+fBQnJ9l6+ThMV1BNXtK+q/FJ7ap6c9GwDSw6NZcaNsONvWdWipuAOQFdeglVEhvIAOi2oLh990rOIN+W32CYl6xDVw+gbwp5mnq8jBSMkJtIKOyY3S6bovJC+amWFB8xR0Kmc0P9X91DpbREobA8tImG76JzCuGxsYZ3dQo6qvgU1EnvGknQITAWdSA/DVHdpBHHSyha/RyMVRwsvIcJSBIqw/Amf+LqjTDN9jddc1u7ejPG8OCYjU1P+pg61BZ/X1Zst7E3eQLz46Pg4RPHdaCc8rg4lKSqAee2YcHvz2JYUU981dklQySLDCb8jXxQpmuLpq6nEDhI/fDait7tLf6C5FBoYNDPexRBzlLmDvHeQAN4/xlp6xojWxHEuhZc/W6bK1cc55xGfRnAUIT2GRoeLvJosCKhRs1hZwEgadzvFR/ENZEa97wgILX612LbpCCH5XQlyPx+ncLdHcqV2jLt74iMDpvOntCGhkVREYAvBvvxzk0E3KEthMCv5mdXQn7yU48sbFd8HoJ842h7krqgVURassB+HFdbJOYDF5CrEy8URsgjTZ6qCvsbHTNKk6rTV8BJjoRk4M+hLjkniaIGBFn+ScMWlU2jPVbBh0gkDFzeUs/6Nr9mB+vm0K2LKIP+D8SHYiUJoxHlgszrGwsKn03ClARUZ883KugDfLm+k6kjEJgl450ZWYT/BYWWRch7gwqXVKMw4P7so9Th+y/TLjNLWrWo5B9UnPoG9rTLFO/YFnS8lrdhSzRGyHBrUNtlIfI+iD1dC8iefdM5lyutLE//GZ3u5mxfPhVbcGFpkdEnIXVcGxRh+shGIyNWo5LIwLTR9YaOnRKAk1pXnLaUXfYPO1tkwWj9qHDXl8VcOC+Q5gCMzAdrCEJVZlfYpJhZh2LcvBBkts8h7E/udxDlHCk7grZd9Ippsut70i/EmAqQoJfOiIfkwl3XLAYhCwLJjYXaQXi5lzv5WC440rYsnVBW5ZqKMcr1HIDeTIYYW4sakhKAwP4gkFzS3fm+Z8WWQolEVwUIyvUtZEsXHP3Ip9nQlPJ/bVOQloS+97TSV/sZFMpgRydleP70Ria4kOL9L5ejRBd61+DfM2RAizfqQb/LGPqMROS7jqaer+k8G37WX5M8tIY+vy3vMcGuNdf7FLdkLT6qjNO8NHmTqjYgh5Gy28Zq3PBIKvnBGD1p53fhnW0I4Jsd6eq4LASiDn6iJkYf5ONU5kwHuenFKL/XdvUiUJkVXrjInDiBNeRkO9J+fWiZ4nQ94J4vd5CK0gCHBkgbd68G7RwPGrlsV2jAi4GT3qrjJBCwxoJrADM6sQUDfW45YgUw/nh0XgEPQfZbfuFDHUDOhwx1lih+eLNQKlUuzJg0rmeJeRHik2bZj8ukUBkFGOCCOv9BL2ubrwqAb1DPKiHlmNXOl8Jmx6iITca9mHxp2zxgsKpIBEHK0EBx60+r1Usj5jQg2bRMe5ZHxYhCOXaMD9ons2R8trcLVSUTUs8E+H/qpV59Jtb9oTOJaSywzyorXRM6L/Zlj+St9mh2l1O7J49TxqGyZ4oU91oX0OG01Fc3ySyBjv07SC6oCwhDN9zlq+H+MnKq/DM35pAT+h5uJN3xVsD1KvhnK514CcVIWuq/M2jdIvcYADBbxrYl0aI+XgjOeWkTkptIZ5D4tMeKTDbrPYbcgr7uGrMHvks7GrDt+8O9obGjuW0mmIyesqidwRe/6A7L9u5HKNEqULPLMAn6W+olT4rxm/WYSaC/GWltIxhbIhm+Q8D7AYjbe58KE6DvPVz/L+Z9HRg7eetKKV6YLbISiF8tBGT/6/REisdnMtn+4ZW+DduPWJbdcQrHrSJzNS7lBxqZNIBfZggDoViUQ+mERZ/REWZvIqQQl9w9LUSW4r3xuQAV/zXYOsr9GhsKae8OdbBtshWuPr9FRmpFN1FLBoDnQ+R2FY+1POjmmc+0ml6g7oeuqPEBOGz6av2hxdJhhX9FMtcNadYKzrdtAYOfplJgGBjMp38vpqjgYCxPrnt+JB7oxOnJTQutHq0t4B6E8cSW+1IpldY0dU2/7zi9c7Uk5hNYEHnmkk5by9KFGJbOeGlOyRQWaG4qADNUV7BeAqKVE5GCdBcYIJ4GJMkSyCZduyFqyQAu0H5w31DWRfFnB1ebGN6Hej7FXBslv9sei+NmHX2f8bRiZE+o78+MQ3q8jhiKEKHvs7fYjrF4D39H7AvaApYgycGwhmjt4f0PMpttiKEZfHEXbffIuh0OYMeO8c9L5/YT3WEAROcz3wEJpAQX5WkgljN7vbJmHxUMTET+y8OUmHaPoc1gDX0AnsmjEB2Qi69B05mt91Vr2ng5YQR1DnutgFs0zHugqqnh0Rin/wo1kbDU25liossOG524ZhJvR6N5nhNutjBVDkfhCkMVNzT25/Y5az/RUGH0ZUIeGZvutSTMj1wPBlJ80OHetHgjzNMHc2s/HA1P98M+DtoqmBKPQfb61rVmBIQHFEOZ6MPl1tV1RyynvIFu/JAu7dS/gjbLBJ/BDRBKquRBuOVnYZ8472v+v4I7AiSFMY92uDyc6R1sO2ZJ7ZsCGAte2yrEvWurOE0FU/AlxvkirkHQm6nBBXQv5LM4kPja8sfiJla3aE1HnR5Ih16tEWLQmlv7ypjGqDK0GNcXAAwV63KKi/xnoHKhvmUQ7n0xBbp+LYU7EgsuE3GZpwPMRfb1H/fjW4zKBmM8PUbNz5kr/TeVPFHkb6d2JnmfsuScBkkqS8mnXslNcGgg+Tj1IwaXFzT3qoKiZX2+9bXwwwMA2hk7wAsSiSUQQeF2qA4qVAWr2vzbQ5hz38KZmoL7fAMQ0uBiZtxvk4HJ79FzUu0MnveG7FR9tuAtonRna8FVb6T2zWPcSYiE2kwPCdr+vNMNhv26HJpE3c0eJrW/ozbMgBaRTYUQy+KsFhMZYIM8mNSjqQqpJglAlXqb4xfoIfx9BDHAWu+WEfnDhDI6aBwL0yf1acgUy/VhqkuBW3JkyZo0SrBrkyXVe2UJ+6HMnJkmOGx2fC0sPcP0tiifPPCJmqXfQdMB9Swaztx/P01CxctSCveJhwxqe4ThoaH8d4ZKdDPPC8AqUwiiJuuQ0SvBAsxknXUCjhuDJsItbrrC3mkjirLHgxCfaRnJz/FoU5t1TniFbNkg0n0mtEcdUpKlnzQYk4So6jnqBnkmoduNwu2WVZgWS2THGgUtOwEp6Yj7edF1TjXQ3EseIMrmtX+iUXmMqS/a7ZXMIB96U9zZfwQr8GdiQX+ZYke0/oeNWvXyJrm6yOeZ50cOLr2FSCQDng7Y0FXpj8NvXx79Qsl24Mldj6KvqMBIiSJty6KUWLU2p5z9ksGaV/2nA15Ttfnd9uZZZu3FiJEbHZvSzGJcli0fxaeaTXi8r87oPe+uuZUbqcSMPf4pxh+fmwIJMuyXLiZ/ZvBkJYGdsrUEjGNqydRcUK+4LBdroR5OVLco9VD15CyJNUIcpWkAs0owL5c4abAb8WK3Tk0jYrNUuw3SjyAkfaaV/pEr1YWXcxQa0LT9dGo5qafOv+DWFChaQoaJfgOdyujCzTfPYXSVo+Zt26/mCTLMN2Ev0G8QKOxTImS8DlBOn9LrQpqFyivHklE4BtYYZFKzu8V0jWxQYdlUDBLr7QnVhv+9G3IBYKNPCKsCdsWS8vAjBWMKcgTLxC5ZkmNO7lXWqdRZhwdfRdnSEHbU1fMSd3EniGiFneh7wCvp71AZsur4DjoUwCbWr85Pwe53+Th9euIs1eaMTzuAMvQv3xo5m83HFrtgxqIVnwy2dhEESCNOC1WpIrC2Vakg2l2Ib5h5bHazlK4W+LOzAb2YiaJiPmUwS+qvpkUym007z9nu5FNVosqmhPFaiukzixwePTnqw6gxcpLHbjglsKo6lwNWSTXZCxqq0QZmNdoaqgmZyQP9e+DLpLiLESklHjwMFoDtsh7FBQCUAqeCYb7Zu4TLZhiSHvj6065pmaouvUvboEzJ5norTkMyLBh1xANORN+lCBM7E7JC77B/LHJlz4cJmYRoiEyHvF6UNSjeEyxThOl9ATB3bNHaOmuWP9D0UFoZjRx0g2krigc/zeugKdzbf3kdvcvzi7M2eWVUhqWQSF/jzd1mgtCip58akJWg4CLmUk8cVocMCOQmiDf3hIhEKiSD53/jjSZXoCqGQAhJKptdzV/vVKDvxKyijZxgwMzJUjYTCVxbDY3X8b8t8PzC+d8nPQdmoKUralagXE4hSykAKPP9oCANk03S9ix7t3jsp/uKWvgJQMPLzMVvKH/KnE+G5YeRKlQ+BEA93JjMG5LFBT+fkfLlcL0Mrzr86Rc2d4oHq7ymbD3PW+6kAqzW2Hyhn5gRBCXadfncC8TeivF+07fpVXFwYBYQBfo0w5hgriRIuuhFMBH6Q34bmXJ1mvG0YQ+ok+F2l6mAJ7sKvdh0BhZ9Q8aoQnjfpdFIA9+NF+CRNkVL/PXqPZMsDB9MgwULxQniXW+5gYtQineu+lyP2ocbio3rk+/GfYHRTX6mT2BxppI3TilcaYGbjfK6FlpwHCLna7MonJu+Do9m6yYgG/h0SBiJ2wXGKuPFfhZXaE8Hh1R0ydNoXsArU0xJrZBx3ucHWnzD3J8QVRgXQZ+Uy3gF9urQHkLjlfrkw0wgqlisBG9kDYruUvCQaWCVKyKYGI63YUXcMBZlZGQO/eHBylGHGIHdMjWkAAxldg/lv0aRGRE5RfCMCb2ViGVHHCI1R9s4aBttdAAwW71IkO3IzJYPRVfACiwSvI1Yg5jaP3a4Eavmjve+/1heR0NdFH7bLNCMgRAhcAt7pfMrEs0dCtKgFllDW5yppjGLJWUhw3+KHlk67RFp07E/+g7oLecf2xtNs3MTLDi8SYc4bKxHz1XFfOMv8b0aIzqHEerOsSw24fNc/J6om8zb27h4BZ+bsOuyVuTDvyD3Xr7x9DRsY9ewuBYF1hDmIu1s6kNCAqkLwM8p3mjv6G1pmMl0eQvgO5YsfsmOGS9kZE2aX0bgmPaVmngExWUqYtitOSIbZy9pLyn+V2VjH2Pw2ptOQSR7p5VDR+2LpbBGgxQ6B5O41JvwQ1l0NKgZYgMog4cYcuPhLjNDWQFsMIXf9Z6oFbMvuUq3NqX9R4w36jihhd9qeLcIbBp8iRtJQF6MRtFbT3vw+6WU49K2//hXOCZPhRWRkZBHGK4HTp2dRVPksF/+s3HgWxWJ1Wb0V48uvoJMl+80KWVu2eFVOST5GCnBaktSvNHIzYy3YN1YkcVUCHLLjHPQ761p30oSgz4Y8IMnP6gSA97O94CfCagrwVj3MJdKaeTztz5971SjkFu6P8ebdJngiihsPn+qkjUfriF4JvIsuhD9WmcZBFjPvcEKCIZZcyglgJMpZ6xhtCCfzrC0tQfdWHvWQqIViYwQByIAwGnGx8bIfUDst1D7wybk+lcT9C5quLcQ/URqPajiIbHqxoHNpZUVw2wml2O/lM2ucsQn+WFzTCCqL7Cp6GI8MwAnMcUq9eCMga3mbAFqkVZZ+Ht3vX5h0KltE0fp2c4J3rOLxmUfEAybamOCVlygOEc5FqbsTPFGNpizD9sQRstJTacr7TyPo8q9qfB53Bxqd+PvRgK5oS652TZcoebIeWYgWdgRJY0i6dNbB4hZJDyxlx9tVj8vUTw1uSsDn1KU9pamgn6aRRDaR8apRZRMWZTos6rCFOl8fn2fg09S0mVy3XHV6Xp0prspijuY6AMH9G88s+0RN3IjKJhLbTV3O74h4IskRhQs5iBS/VzOXOQKpRuZrRegiUkSreUv7odz4IlrPXNOH9cgB24SB+MN/cnSAbdbNiPBj4RKFajrjrfFZFMj+O9sU4MrlZ4XCDllgT+no/t1i3vjNBetj215W12dIKykgzT7ku1p4WPqU5juEktOxfVybUF+nurFnc2+tLjBnvMjvL0cxCfZzVnDIZZGWw0tRFqoCAoluVtKi5ASGdoJEKd07Fos8AtjEOivjDaj/KOOkEZOe7Bwc+ogHrHE9wmfR4gmH84USXK2jtvX4KrIpxB4JYpxYps7llxOjLzpecxLunSpoyA8vTP2WJzva7Qtup3mzz2ucKmb6fRUn4x915LWXTPt6Xbw3RtouqCgMLo+chRCHtkUQ965dewMbDwquVwmCumHsi/cD4iwmDt66mBVZ4ojloc2Fz/0tV0wuGWnXzSbXvRtU1RNRqXJ5un8PRWbXiaF0zzKn6Tdgkw+mxcvUixi9vm8L2Cc84gYNOPdNWSF02McmnJ24QLW0b61fwy1XmyqnyFuLXhm2uZIOHQCj1fMeSimwaQWRn31Md48i4lW1AhbqN68X8VvfBKgZq3vdpJTf5cKxKMTkeTWVRK3+qXm7FBUK3yRaqwY6alKWU5iF4xzECRQ0AI1FCvRwYyiB1v+y3SPIvqpKqy7sMCfty02nO8aoL4U00DS+Bv6UF4fOfAz/kQQN+yDRm4elCV6cQEWHMBvqWBu1+wrSuEr3li0GDJYNjfw3NW6byLCk1EEMzlUKbFtii+kOs/PNfjIv+gat0Qa2h2pCvEcgVnP4P1WpNUSoo7q/e2yn4KNSAlSzD7ko503Ckfm274NgcYHD7b4zZXwu3uTDvyIyxnioMBbTzx/+YJ8BmY6nk4vI6hDHlbbalWhqFnJvqcanrgWeSF3L124cJdJIYIEpc6eO73tf2h99Y6Pk6KOUJdS8qTP98i2mQ3ZoSMR/e1kcrRKZ1eCUasQaGCCQbHRNf45ZHiEK/vk3hE12HOJhGd356Zckh8XWmCeOm53aSpb3gfhOqaLOLraX6xFxb2s+fcO1cQqPaRTxc59HtQ9ukM05uUeCRmfnvIGDU/02e9N4pNx1EHmy9dLGe8SERwGHKsuywKcgtmlLk4aDqC5XkgqkKd51IWeYwu82unD7WV4eXUVIQ+/xg+bgl+ETh4OzKn9ZSY0kACXt/mkE54qLbTC+H8WqpFH0JaYUzcuZKYD6yu2qDJQBpGW4NbHgcXvYKhrh6UQ5PFdzw5Zmrsagu9QmSSt0YEosx9s4Itva0OsTb9U6pqV0f8f0ZKbAC17IIi1Yq7ipJgaBW87lInEkTR6s9EsgBFBc41Vp6PG9DV+JVfqvRwHGtwEzy5PjUSo28nZlG2OP/7Q7bhxjh0Knk51F2Kv3no17/ys8X+xOx42kfic012S3TikJW/yHVzfvBQ9dqNgfnWlve3EYNC2vz9WANCq+lepzpdlaNK/LPSYZz1AfqKHrbf8DAbb+yqJyZ9UfVpKreIbXKrVBWSs8eWJlTIbPYmAoituiJYrhzroB3dhTUSThTkDT/UiaVx3b61IEwjhxy2JcMiFPellkuYVkBILufzK7lPGxPmxO0jqem/UMlsuiEt/peRV7zvr0wRWO84DZy6EHXg2iwvVKb1OnnEiCRGpDrxK2LnSTEA6QEtPMZ1h0X9rGDv99Ll3pSpLItogdjIQVTg+RMm5T3ca5dUbky830iDzLldIRLAfxOPK1TQ7AjPRJkxkVIMd5jaKd6rsi0ljkNHekXom2NXJJ7fgh8kUDtQ7z0gWEu5Cf/32JDDKCJfic6f83JF4JIoqTRyzDOsRotcvLLOsLfD2nHdrMWzOjgDEjOlJi5sK7Gi7Dm2/HjHNAK8thL/vNw2dzgSE/Ce0VD8txArx8ayfTmGji4F4Oq+cyYWC/DdSpDnBZwGOUyVdyHxNnnTYz81rb0o2oRAC5kS3twkxjGY/HLRjaSw5xSQPJnk3B0s1owFXU3g/PyUx2wJTVIeFlOas5iSUnp022325x8IQEm9iQz6f1XaulTG8UHIVCH7NKVLVwV4TGkQ0V0zIHKrl/BVIU8vdyKdxDE+b7JZ7d2/1pGHLOoyArZ7MOHA88TcR+97qdgNqW5ppIx3ZtYfy/PgKAjAOQ1v/Rjs+oNbHZ0ObEMlEvWts4SlvpOP3R3c/asgBoQgOR+2yDbpWkb1dsk58ZLFI5i7/lXtGSIwtRcNnoeQQSiiNYdIQmoavzzAxkQD4bDy82+QwviZoSQFOhfK+gteXRyKG6RYp2e3AmhYu1AKxN1ElCDiicOZkXORUu5WxDieXcDHRJESHQcTL2mBCqmIdSwaYrkW6B9r7pjCQuCxUDbhzmLrQ9l+tc/69J3hXzaIzWdokiQTwzzFfoRFsN00QdSQ6CzVfnaN5iiv6uHVlixS4FFcF3MH0Yjs/qb9lelCx0ZfbSa6CVQbY06TwVbVoJoKH7WCUgsOFy7btQp2zuWWPauUi7hLef28IuT27kWQnEGbfoeJRQuc6dH/XKrFDcNBnAm4hKoOOwrLGSchGlCugd5fL3Q3OA2tnGUihzQozzoT33A9TLcT7+eIXilL5jHbzXEZEA6q/poaH1QGvBfYIfi1C5ajpxfu8QHywpQBxzSTXyeYsl09oiv7IfcVUH5ILRtuVf79OUNz3rW4+OCY5pfLYxmkIFOpj5DOwuMmPGMEy6K6jaXgZO6zZ7FHaYRzZd+Kv6Oj71pJ+Eqsex4uMBdm8+KBen8MtKBWvPwb/8usrPX5HVJWzFjav+nGpbvT6CvyXGDJQpisNnbMfH3ylpo7RpBTqXwQ2GFyZw6l1W/7DcWhzWMkUqZUgiKS18LvJIWC+hkyBNOmkbtgsBCC0SFvR95PFrudddudvDWCEp/yHRveipa09rq8xX8dGxtwHFekA5cCckmMPDQQUQMZaIzZgvlY0U0kDj9/BE4a6gu8PzLBPPo2C+W4OkqZ43xaG7kMzqgQnwvykzASlPSjmY+7GOFg61fOcm+3pHQxrBzimLhbu10RRCPeuLLCvChBwplhv6s/DSxTlAxAIlyVQoDJReF+xwx+YivEo6unrPq17Wi/cHj3b2GQtjUyi/xdzGKAPSayAUV/4xel02oVIqgvp5gOTaodvVdHe97h76ELmpniEtrpHjWsPEpqpA2tF2Byegg6BcDj0Na5ZF210zpP+ySGsFH7Xu8Fy/6SrR0py0zyND16l7atIThYvsuSDPWwOWz/JkJwx0g9IeDKODfBDDaMw5AuasaQ4WTrK/FnB7VQ1GZEnO5KXqdG+8vWbfOw6Ihe3UTbD2Xlaw1YmkRA2wv/MMmGmZ9n8YIgr5TAJvR8twmNe8yc25F9BT+t5DASCXw2OTf9l+VFoBGMtD26KDimSCZIxh8jRciCNLfXYP5UnToQlELjKSD0TFO+Gt05S3O/U+pBE9y4FWebRUpUExiufuPs94ZSeYRvSmWYPxXlvKy3rb+VqFjhCnSxQWaDaa6ys5oI88o82gKaa2Gsar4lmbj7E0NNv7M8NPc6OskoWA7MkhDBpXBniEEj2jOdEfsVVeXy0o5krCRBJ0NSvo0HMh43+hJkNjvHhsCugsWD5/69TerMI5Ui8WLGjTOoJekfiP4xAjjrkhyQlpL6SwBSYqqVHqFmrqHjPkM5mtAgJoDZPaZl1H6a0GXDvo4NcmwOD7eAQ8pM81ucAhd71FyKzFkNcRkmGoMIPprNz736Yg//Rzg8waZ39W4KjtSyt3coPYp/Y5g9BNOTokCP8kmByjEsqVt7xVxeLr2oXHpQ/3Icyq1BSaNNg6M5lf8pglwyBTND8W6GOKAqVsu/TiCIzhxG4cCpiEYZGWsv59Xq4rPcMPnkh2nXQCqioSlaYFHtrbXJatSfEA9fGuDyK4Evn56sX5bG2HEBzKC4yRsY6WO7l2H0yJQpNTmuCVBwXM6dmLI8QHnu3MzLDug4VZ25K/569mC9eeMtqMeIZA0FvFMNr1PsHTnJGkWeoN//8ziCSnP0dJbUdx1I1nUIX0kyASWI46RxCE/t6stR5RcbjnmSUu702Jcj7z2UAB11/J7pNLdfGPkw6HJscmYxB1NScFK7bg3Fx8az1XCufO0EMpQ9w4FM6tBD2IC+AiHXxylhfd7LglK6L9N018h+Z+n6JJsIH6Ki1vefIrWEeaW+aJz4fM6kR2QsoSm/L4NmI1YxuasiMeid7UE+XpG9OwATqyIBUZUDMhT6yMSvIEFJTQ7uNQDCFn3lEt6IY1oZq1VB/yOlICT52StXhqe6UawZo8lmxMoxm+WlVJa222jsgF7+HDfp08ki8rKdAUeYMLSETpa96TMZEzrVuJjXUKbRIsM70gDUSCQb/qSlXWrzBAdQK2PM1P6GW/LM7wYSIJMuhWUuGsLVLGdVhpjC5+w6Fl3nsJ0/WmwTpSrdkS8HuXL3cm1ii6RGCVQNeAO8PX0P94evx97kUOEUQfeyEIgm/JAMeoVPHsZOS5yk7kscDtKoHEKOZGqTgr6yTLuv0k4v2x0+cQq/Q7dGOcq5Jbn25C8ukiu3nbM/hu8gIUHhImHaQbsRqXAVFIvdR9d4W49xyzheKWJ2ilBu6m0xVLEGYESnHTzlCytzmBzEzuZG13MQsdj9J77YR02bKuF94Qfa/Ye3vf3zbpTr885dOQf5NvzOgG+jegog8feP4b7TmxWk/dMGDLzhH1KLmIfwDmWBaqydAZ2TxUKrMNUrZnh2xslGnY3ctEtRFInTY7fpngYXBH7ijm7KnOIhkee4+2gPzay8S8Wu5lA/tq5LPK8TobWU1DfS6KFMPuJ+Rl9Llg2MmS8mTYvWLnu5chWgUiZBx6uD00ERMDYjgXRGi/mNGxOA8mhqS1Jl9NqrlEX46N84hgbdma22LYEiBlQHMujSh9RsZh94Wb1RSIdaxH5sQKotO0GjcMoKHc/eh1Uz4VYErmVHgGJ4abece6E/oGNbBtp44hiBLJtFvchdOk8vsBUsX33kNzgBmbAG+ah788ZXW1W8nBy8Jfuur3XSAkQm+XQhonjfWVAHykf0g1g3HFs/xQyLmB7VFmmneVG/RhQsye5dSUbZODY4rai4Besc9iQyoQ/WXh/7JBekz1z5nOdWuBpVGwdH6xFdWd/Q4BUuoSdHkaqXX+fSfwSyx7b1KlNSDus7wuWHjdZgTlgt4yZ14zToPJ11M3QMshmvzo+VTAEkJBY9tggg8kU7oC2KD39DkiD3nYo0NPgCZd8Go02uytlq8Xs3tJg8ZrixsCCIFQMRC93yKe7tr0F7rVI4zuX7iU3VLtUoO7YnNL+jM7FwaHXM4hSqNqOsAPALX19v1UpDR9BF7aedrNClQodfeatIsQy40BR9WCJSeqf5Jlb2PIp7ZsblfTKTL3XZyVtIyqCX54kJq/h9ii7tE+U20u/pYITGpEXoK63+l1/jpuaHQHEOvTV9idQMQwLNFlnjNQuxYTLxB677Zz7dcS6p3v83Zlt/AIvggC3UFJ+UoScIrqcQn8hpGkeUHNTM4bHu0hVOuYRKGjCT8AKwH5nHSTiNs5eyxaU0VHgO21yMnK2I5cQFzigCqE0LGNIpKlvf0gfO8HkkPMZpy4zku5jpYgWS6bCmQuIH+vtp8+CftQHrL3XnKHRNhXT4tV0JREGx/+CPQ7VliLdxRYI8vQ+iG0TyIJNt3bTClBptHeNQGZCTWRz8HP0OWS8T3sYYQ9/Ko2/RYH9ji681z3uUFAXoSh8/OlZJFQdiRKkdgCfOGpXmcJJwr4G0RFp0VjS8Y76MQF80UAjnbZndbyNQdAXJMGA93LWRBElic5mOXCvi5xoYjzxJ5O5k6i+wmmxUK7JUOKl5GheGZEmpIpqH82kdNhtl0NsoohKXrbHBycV42cKhPG9O/SKJxhakSfOwRrkcWa2bNHjSeJFXZO8OZ28KqyUlDXvV9LXki1q0hqJaNy1TURyU+BDEkuPEcIZco1OWpf740v8TW6eo1xiGZdYrNZkAzLezkour4nZ6rZWY6fa1lUsQSHuryWOQTAIbEGYS1r2TBov+uv2L42inSVupIw0doy9zVhtuBPfuTqOrO9AM0x7tQ7QRgGEHeZbazNhMpjRauEe3R3ZyRECzaYuDY56tLqf51zcYeji7o3/cfBSBSmyuD3j6LDl8iEstLJt5LQ7gCSmtQxI9xUzZLU/n4mRm1osYNI2pR/KQU737l4vUNdvRlW+RoP/5mvjcO4fPuQA8GYDhz6uyHF+Po2njI1Od1czV/z07SDrlp7dq0oH3l735hU7ssvFgUUF2/yauF5CIp47J27d0vCbmWkh5T/jilTH9jO+ZJ1Grz2rl+BA/GkYP/PbvkAoqDMb5dVSFcbu4dlUWCNp6dOxgcHWKJkKiwN9mZ6LiaCa3rH8fNeiNZYHAPXugQ6QkcC38ahpEgI6vNC2wOC9kfQSiO0vnc+2zQDWIKoWV7Xmb6OLxNlSK6Kv+6OZIpP1H2GIe4G5fzUDM85naBlmStFmRn0emF2uuwXXNB6CWK9T329o0bzwajRW/91seBu0JWAiXJ7oHvstTtjaBuHeWShxygqxv0C9TpbBcbQBU1eK4B0vazk7VxkvscQYk2TtfDJ7fTnQDRzc+KnQj9tYUKehEC3YhOzbiaJEwChrWiDI7P+RRIbYgP00H1MRN5KJi44mPZXgtIbpkan2xfGV7sFfZTPZg8Pw/brzeSBUWDgLdBz1O6X7WP0rR7rOjdV1shZnl7kF0zVZuybym8fAsdnLkKe+Gaw2sq8tjOny+iWc05TX41gR4QTgAYQ07/Gt6dVNy09m3HY4p6UnosuyoVdQtl0WuunYIbnp3kimRG/josCKAVwe1FfR+8P+j9XjtJacBpXXzMg2KEYHA+RVuCy/TwwDY7Xz9N34UnqYsd6cRqUSQw5JpE7ryYl9WVp3Z4ltY1eFbuxMZvqV8zly1SN5NkGbWd7rQom+3wB+cQTESvCh0nim02shuqJsF78io4shR+S7kiPFfO4hTdOntnaKf2jt0SDcTdcFwMYJ6shVEYWs+8owQTzUG/xLSCfVbl8y5UIqbONGHBVd89+h9OtK1roCBxktQEVtq61A2Vzrir9JvGwyWw0E79hRJFuQh04ZfXPP3XN/1EEPeUv2SkoZ7ORHa7ZErQkjVxTstDxw+bo4DLHQA9tc6WLvMXok8gd2ivF6qzplhn6ImVIwE24HlDX/WmHF8BnjeFgyDPcbFVK5xreDw50Bwu6mRjfa1A+EOqIDtrSvV6PXDxRFAg7sB+amvLMERJswg3GNmynR3eO9aB7ZbipjVzoBh5PPWGIzzDEA8MDyFX5RQt5HGcNi4kJ3QcSG5b4ZBiE/V/QL7PRryqqU2/iYVLToaEDCS3OjXK2m0o0lLMwCg3NCHVMaMkXfU6KzMK5tkRUWpCVhWibIfSd5Tp9a6kjiLmkzRaXsw1abYXoQn9PU2vQakX8HSJxpZX368mZ4UbLPlvktOxpsbR3WF79ZBF9iQ6VZE+Gm702VxFwWGWJBSX8xvc6Ow1PXnkmAaIdj3R3S0Q1lhJx7VSNiXUepPEGIXfppxFlvh1MobIYlSYkg/EFaKsgCIyFDQrYZNu0/FOWibr0U/gkILu+EZmHtiMhdPBeeBWp4JOAEiF1V0DESObagsQboL0YWFizw2AaWegeO6Cys9g30+Iz3MzfXHN/zwjeXNO4hY7VCjliSSVC4+Pff4Uf5XqhYfyRag8QsXciiZJGc/nTd0F3S+/qfXOJf+up3SAz5IgkhnhghT19LiN0dyUkx5FuuRTeve9X/Ro09RTGfgeitQ5u4IHsHAFGt5GBfSuck82pnYv2SEpcmu5yGs8W1olvdYid8zmHl5pNAQ+jkFeA1rnMr4N18puPqgc6pwnGWbfZgMDIICtwSYS5S+919+Y+cruVidLvxlDo8G3UwcPO4TfeKInIycN05xlG7fJZ2+IR8Br4wRTgj48S9QDmgBTBJp6wdE1a3ADUyyiOGKOQI4vinhy92/av4+VyaAd4hLGDRzMYhUvBBZ+55DbzpMNhAtZecJOKCif9Zwc2Gb0HEUv66ai5hrOW1bgvDE+123R/zrHPjSry91qTjKSSPtxnpaIyC6H5ovvfUcpygRm94LwZhHJTfNuOfya83jWTsgpTIhfzsDsXX9zNlIpApDv6y29aw5aw17QNGs+psu6zJeTKDKQlLYSEiLlWZ9HB+0kbe7+ZLNFbkrvNy/xxaubvhwODN4G1RHiZVI+D2NrIXEWUtUOhFPZCV7W9dagaNZSO25jDwz4XG+DnXZ176uVj+cREhBPNmKL6cFNaJZZPqGaQq7DcDdjuOZhCGJrCh/WNlon/DkiY/mewPPyqBHYg8p9O++93wS+dK2UP3dz0HAyhDY9vdtBSkXzhBp1nBierEyYZhwEM47DYSJg5cNm2RPz1dHrev4S8QMgCCvclbxbvF0Npep+Jyvgsiksn0hGfnyWH2cAH+jKAyQGbieNrw/tVLlqzZfX3eCgX8OLOPEsb2pMrzMjCHzvXVXNL0Ue2g1lkbj3Ja8iY2tK4dbVGZfFqRtE1Rh37YL/UxP9pxIPbWM5RoZx3rW2bffMlq1P4ze4KAMSOL8lqsTQQLAxJkh+8z7fkzknJExqrNudZKwixTUxq8h+FdJrsOzeaqBLCeN7Nk9LTwMFqcE6omDI4/JnMvff/QvtgXnPRsIlrYNuzWEJm+TZ3QhnZX8EYSViIZxvuENIIBnMnBoRllww2ihiLD/Br4LLGw635cOGhPaWTXOIrBfQCyblynTfEf1cKoIcwEoBYfnSXflz4CDEgnYiqtUAO5K60VL+4zxhnvZcSWgRiOzvOFarn3PIB79V+puaETf7CKgMu4npXVQ3FOKu+qwHbJebUFfB+FPUbVAZrtx9ZbQvLbAkXuTstzcdmqQJnmHJawktRCOALFUIbEEfr7OotsVCYnpT3FdpFSH/EA6LEPtFbKfesYcaeaP3VTrN26kneMeEEhwSSz+RUfxhqOWUB0KtziiUDH1UqYI9sknkPqTvoayG2fIjPMB3/ON8IXc6e8/uFbkbnkOV59af37gxs/tXsTMvJm5eZCboiSJTxkn0VO/dt5aaUBPXOBiGD5u/bjGmAYrcu5UlONmX5iCMhfJTkuj4MeIi/KTRhpdO6JNlBAqTxRS6o8d7gA/UkqzZMdMgJnLhita0pzbdGppexvToaB8OGQ7Az88OP2pKviCmAz9jIIT+DjQQJY8NGhNbuYzVTgi8TGeMVbk4gFfSxCzulUa9ASLyjNCuRry1O10jW1M7vwefG+vsMdTMZha57mLSzAh6n5cyn8lEoBIlvJyPEJ/Pfi1TwYl5S/gPLRpptI5DYSQgttycVbAC4oSrysQbsvwd9Y9UMrGcCKp+1QHJNOfdIdyOaQSPgnJwRB5KxIWA8bJrwrkUaAMnX86+Tx3EUheuvhFu1hXNlrrB9MM5lXvr9X6XO+ANbgS1RWnHGN31wL1478QEAneadPzBReBYh3sbcYLGfJuUrLilazaw8TEJznc8noBjQchz25bhnQz+RVjGov5S4XxWDtfFwQFwVayzhhO95ABdCOoOXPGyHylSskxZFDgvce5510jPHZqHcLD/wuviylLtau7eLLkILKViYzf1whRVKO68Sh0cBM97D0OglAZobrEMAu/82clc8HXNdRNNSy2st+BN3HsQ7uIAOlDn7hjLeGAu94qiRscVAYLTtMA93f8TN85vjyrTRXHZhmPe8strlE4I9YDyku+T+rVZVI28OBKMBBDUlNIc0M5jfXkF8Jh4bKv0aPHB/SOTZtvUF+bagBgSG/XxHKk8nT1L/4iK80ogFgap0g5ks0pe7qEyOkQYQY3Wf4ibSG4jStAPlRx3/ivYxcnBDHLcEKi1nKmud/Lu8YeV8h4tEKsbNw+UOLqSzsZybhF/ec8lUfAzbdc4wXDaaZt7QRVY8/EMqvCeIcNqZYd/0e7Qe0GQJUT1CBXJDH/I+9Nz8rYz1bd9eDgxjrPGuMLX92HQ8QIwp9WKWhaFKiztCSrlJN3rqLkesFvEZPB9W7Oc3FXw+G00wXMoKGDL4+J5axRivHc8zK1MDDEOXoUs6mfAPgvqOH7hJ7CMaeS/de//sPMkNyLB2vdpZO/EutbSVCgofO7f0KSvm4CPzCgD4d/6ploq/wfDK/PoSHBeoYJprW2IeULLlmh4X5qrYF+S21ZshfMgp9WPBhvZ3tc7JUrZubrGVCVikxm87MEaePX4XyR7yvukbvg/CHIhc+JMgmX0GqdauFkhbJoasDlvWARLLu/A3b3gHrSnc23U3cLjM53XhADP8BQ/YbSGUD82f8WGnTPzpddIi49lEdOFTP+ZTiSOuDpIf//dvdqn3IZT/ENUqwr1+eBM7sUyt2auSibK1rdSioNgV85NdM2I5BvBlf1ldmb5+XTbG0PZk35A24YJgEkYCaIHYB70pwBfpFnrj2z38qVe+tWpgVn0mabNhDOX7HYYiEwE9ME5oVltNO1R0oEdrL3a5zLklvvmbzVhNFsXNoWyH+T72q/uwvpjXvj7pfe0KzgpLQDiz16wJNB1YZz4SuMV73Vnr3GVk73mjgAGD7ufxei91FsvgQNliGEpcbnSqsGg5eUOjYEsqkzepSXTHSJ3SQgLATh5uTPF7+oBk9BHwfZk+XgUCR7NlKKcqHVJqMJqKPtdXjBrzSsPzkipCLRqwmiXZe2IjuZqpSXrwy7y7kXRqFMhrGJQjCrDZmHtY9IqzSr/8EWhvTs5vdaNjdo6l5HzMlqUg/jNPKnxOJ3dbXR4UTZ0oJNp3yR7JlGHR0/FyRRRV8LsuXtt6ltw6Q1gbLkLMQYFNqRtZXxFVA8xnrt1CwsjDQ3z+85cymA30VR3CuFB1hTw0bsc5Y0QtP8mcvDYB7MJ0InolydVPRrj4xUfH0ksYJ5KzIpb466ptjRUywjHUMXxafgFuLwKSpK9ssUdypw/5gI5TeP7x7Q7C0QBiQFQp5BuSCOPFdkQASJSbyLT2pbrH/esD9hM2crAm5t+uhcJym1863bX8i6RpWOKyVkaGGUigwzG8iMaVxaLpwJJEbJufODoXqS7raIDGW71UyJfDfGJqCzA0kfHxb0ZtUnk/o108o35+Yl43GC983L0K8eQkiNExknWD8i4HSnkMLwKWAdaTfRl61mflglGLoNdARxfysocMMwPk+BKbDdIh0prlnQTBMK0tO6nhlTiGg3o/PLe36R2Z/Pg9OfGoLCADUvGBWPK33i4Pn/DFOsAQNJlt+ybpp8Uj2FwTfcva9mJL1RmSoaceKncmTJJGrcFFytdPEQfA81Gh6aykpB/3p78keFBZcmi/uC+Iu7Pi56HnvlNgsMkIx7GU4z19RI/jyT7F29SyavQJqKrp8UFvaJfYBK0tUtN/HmLzkstSZsbp5QLx4oUivObP0cyB5VDQVr0bJqg1hxwRTlx4gqY/qbadqkiTClOtiX+K5RK9QQXFR8CEs+4xbNvxIhOhJj7erTpicG5sDxfp+Z+GGocbwJref8pA/vH47lmSpMXxP5tfoYuEvhY9eywC1svBUn4DtMZztEbT74q9+dNw/1qdiwRzcqjRAppjthLxRtBwXVpie+onBJUO9ZhwrUP2MkOUbIj0cPcPYBhQYlyX7E0PKs+QBrwIziVB3igJfDcXZyf8noo9Bgysal4f6KUFg4QL6szUeS04KGtXVs0M6AcE9tzWBDs68zv22/cRBvVwNQZLANPywwmEPo0lheTT1BVfK6amwjri+oltX+dIxfMY3N9EleAY8dV2swCaHIsHrhdU9TEq0zAkmhH5qPCbAZ8EF3O9XQ6JnqsUEXh6zsRTjVWVs66hjMbETme3kDEZffNEAD6sxQF19hfWuZE/dy+SDHtsNkgNvf0Ip6XFbatGoMDZfTE/fozG7fqiPx/JLiIia3dgOcl6/Os789hiBfBm6r1wnz1jMf1oPg1VnnuUYcsDs51AIG+3Ke832geIZfZ49r3VBD3QcuUZ2OSe2aAlpzIU/sJe3AqijnsBxOY590LRmxwjRhVs3eDAp+U2YEvQoH/BbViIYxti/1RRaxPCxoca296SzBngWuF8u72vgcjcaikKFH0OXco2oGT+gpO78cO76vm64Ot/4rdrSIcdHaZVhJrwLjEQ80CJBKbElvhbHWQc+L0Qgz6ccCjXyhQkHI3BhWG+EJNj0pTgFGemeXUB3vfnOcNuo3BC2NvABostFc+IKZf0zbwhlKl8OK/mUaGpmjJF0BMHL637WdgEClK/GHEDs7ZfcEXXJ4yx71gHsSBnnCcbAd13/br3gLVkNxRrvi6L86YcZxyx58w28Mb69FBCgvQzT3vWnFLfezQR875W9HTPWMnl3GhjD1jxTHZOepPvJNERFm5cZqns0gu1VyUtX5przHyn0lYusU5HS4SJcjvQkxIHoEWoALv6Shb53ORRVc+QbG0WEG1RDY9Ra5aipfGNK6MC8SN8/Ukn8u/Pqk6Tt+M5MJRWbg1pith9N3k96xKepqM04YhTru/0Aqfg8UBV6fEbjVEwYE4ue1ApCGL2PqWJtWAeCguHZsMQDBTy5ylyMab1X9vz14rmAtMx6o2FGH7s2kYwCiSV+I0xbeRvNnIgBCcvT6jhtmFUl6++uTA6ysnIJAtWNNFg9mhCqiPvWljvdF4X3hLxetdd0L5BcpM2oSIhoyD83N34fY5YaLdHAFIHdfvn0+vgIzXX+9wsq17AeMK6QYaSoIFjVVcgbuG0ybPmQEAPVXFQJuLmXtDPqP4o1U1C1sExdydiH1hVlWGrrDHk7mGKzAlA3EG0MRTDm+dP9MqKUNM0gHxOT89ufxR6CG55oZi+t8JCYKF5I5x/ifCEBNUx0v7UvfAuhC79lmCW2pVhqNMJm7/D5kVbqi3Jr06+8CrdEFHBBmikk4kfPTBhgNy+4KbKwtgBzHM32aG9BUxHDWKREp62SwlaZ2XNgBMrhOYHSw8YLKTWvcJWWZZazeAKlWiDuT2Vw6l2qWHY65U0dIoA7IJUl1hRytTts3nUeiYM9mbbgTGAiG4pfKTr5E+Ivsu6lS7Z983JXTBIotcsT6kpYOXRyBDaszQYnCBs6pb15N9Sc2gNtndehjpNgTf1G6dikjRF0ycMlNPYZ7yO6Rbaf7qmO6zKzyfhV6myblvfQ0zcWVICFxwSmfmII1N+t3d0acbZTR8lZg9IBTQd4p1gNTKPvkU8GEp13UTI3BtShPmQoCYVy0o8Ts4cKvDkCMA+Rc3xNFh5Fse6b/vsDu9d6cTzmcUry2U/Zx1p08MahQwD+hnIuTLh320gjWEaVJ67McS3ZpjR9VW5It9zmQ/vMwqFMhhlVXjjPSGBh9+EP7c6lnhV/Aib0Y3JnwPJdeU5edWEdGbIidTNxK8H/1Eb1oA/qoHcPZg1SaDZFcR43qm5GW0p9SYuNWZ+gcM4Ui+r/XFK0wrK28XTXWNPZ0EIhyVeSsdpFVAN2RkHEyvtCIdAzDGg5UJTRkxUgLu1sNc8U8ruGgjbb51rprsY3lRmKe6F6Q/9VDlX+EfF30alrwMEIaWz2mKX6cIfLWMq0wP+dICQRL2ZJRrS13bLpxqNocJ5dpRsURKprrtNX2T8VhrSqVIOBxyfqJChwXALfUnDH7bHyXlJMnR/ex5xZB8Y61PMogmVtqdarHZJMdpLjqIpUnr0gFUHo2vkhdVVQ9tFlEDYU9RPZAQeR3bgHbCavaUxHT/Jnm+Ijmr5LaHn8QsCRQB2KwjSj7jfrYxafgfIQqmT1ASNm5ts4BPFbY3aasCdOj4EEebTHmYqzWqb+lgbRu+WvmW0eE89a3rAXpV1QCN2/xJhwtNSWMq0L70JJ8bbfuOeYEZHpCInfFk4a8olGYwfJhwX034SGA7ka4RTIPO7/HrwVL5NkdFnoJ5xo3IeDtYAY3GlTcf60c8Cjo4dVWmL+PIw/rGyVTLIPmnSCM1Qqz9V3TzbNzhAijwT+k674BdudliEicAqOu5WeXLFUzzRTLZ6owSFpdhG6Kw7dXWx9H4M+BMl1CKD2qWp0mCBkEss58wXjEw4o/KE1agH4XpQyNWSH3GhjgItBbvq6Zv/i1QH7bPaKX5qxG1A/UMHdUoqrsRVtE+utiBaPXprVxJ0rUbl9qlRoLXYYMglW04GtQaAgqfUAINgYWkOhjUc8+d3CeMmxWG1PWw5h4oo0MZUN7IHmRH2zr6teLae4SwjlmiO2yuGX4joZCsGyrdvqTiobaEPMjCJyUWo3s1WAHL0xyAyBPiBipShxMweZ+647La6tE4AqxMLWbXTSXUdHjHx3i37ob4QUEjHvPfOU6PFoRUCk2JBOPlBehXALETWvg3DEFN8EzpoSsF8iWIAAEMGZi/ZV0qzV0qicw/QXyUBqD/GRg0uXOB1ZSWtMTAQX2H9Y2hcmnSRqEFAchrzrVUMDhrT9Bh+NCz5OOw6ABaJsEuz4QYB/Tvbke2UJ8pfWDa4T0V8hijnwITQD3zZhfwtILzdV6OpuENFMeunYmAn/gJJCUA38J+S66Y5H8hmX8m6N4eM715kWI+3zk2opXXeIqWSS5ku3wyINleJY134/iImOc/ZVk30hnqCy6pn3pdBJfWOKyBfim/WA6cFUJuRC0BdYLRO19uxSSVMjVaNcwyYwRmvBwTUiF1/kfs1UraHwYFAqrKTj2p2RMU0MzbD1QLlQDpDuTNaCHV3DlUOSW0N32pgPLu6Io8INPFMbsQ/LBv3WyGk7sfb+QonPHWzX5sTQnhIVa9S0igLY052B212XRGQpCTl8SXCGdF38+ZXn0+3q0ZlZx7v+sjvhrh/oH512my3Cb7fx47TVhQ/Uhx/FX3JTZAvnz3ZduJlx+alD8PkVlIuswderXAH3wWfswszTMscm4gB18hHLxo1rt+6hsMaTk3M6ESAannuxMyoenuFhee84ZMp6ciahreLMgfP0Iz8BBUtaemxKcZpXFl4PFhYqmVohkxuHyjFz1tRAe+OY8E5sxFK7ui0N6anwldDzfSQs1M6VseqVx06oTm7tLVhgL4VlznA1WCQAldg0WeSQ33gDuYlE6UH/nFO1QTSpfiw5mtzj65KMIleNSgEuFp5tiGVHSUp3KEkHQzJgMeJONoKP0LBO5jW5Y7mmQzLeBoAqrjFSro09QSx5frFdiluwixm3+XTa0r357KPzdPCE2e8lt46qQlMqT687AWHcGTXZ2iviqIT84M9gjFvfEwu56p+3VgWScap0tB9NCLSDDeI27jCFSLrsuKX8EnwB59tE2rRhpxs//4xnX0kPpRun8m2YZGGu4W16Tso/VSRdAOPjEcAu9b/ffGD6YYh9cS8+eRs99Ksd9dZAWTtvb7sdb4fQMn7UNBh4z9CVmM4jh1sTmM2WKhE42qTLQF7NMcvIKyv5f2hsuIys6ynPP9GDUAjpsujEbgGTZB5a3RrkNy4rUkWKZxHRwT4f2TkJbApFBeRXyZpX+QwOQGXuHC6tQN7XIoU0X7ODQodcpx1SC/phAP9A+gRbXhTRl+eXcROJpPUZJk6e8JDcBmc5WBoiT0iPfykM5hKlrhzNjF0DnexF1fiBRSUzuxxkHT/Ntq7Y84dhkUWJX7IjrxvjnxM5aG0yCfzGI1tVhJBt90p7QPUVV3hvfWz0Dmv30/IQvMOglfmUeAQJ54UjfkwOr1PbwaGcJhiAyn5B/E1xPTraB4bIPbRS6GjXOeqTcCH+QnL9s0n2mWfhrZ2G8+Y5JTR9bOGay+SmqjM3qAPHYlcwPEbjwg3H0B0cI3gKT95Ua76Gh7z0APMi9lnf7oysSsywnuKSMCXnAA8g9maREL0X0lD4R684vS0nkLJN9jHQjxmvhAXfUgSg1KahdGxZbnDF1uLHhcUEnJf9xZDou+yK2x0QwXgZR8sGAJgWSFXKBqFMKVjWZo8pAJMX0fpEzbR9M9urH2YwFANWtmB1rXDavP3H07ykwzSgRwMSDkR/MaQlwBA5IcfsTUY4FO3Gf3SWvxg6vt7hhjPE5XgaVu997PdGvNxkiPznlZ8MAxqa9epu4Au3uXnMq488X2iefAIZ8ICfoorjNQIT0yLsukrvivBvep1iouvcFWm5VDVLeuu2HNYb2wSnuH6zYgHWRKqkVZYSUyfvSiHDkM/wzpTl/TzSls+WOPDkEGLSVPYftaLfIYz/yZGLB7xrvdrWQTIEtSEzYvqWxGbqmiefyJ30zMoVRevVfPw9w0dxuYmA03WP99xMXgeh7JXhr71SZcmUpcjALXrOZO7S4ZeT8YQy47tUTcthpw6lyxyJvr7N4PRK5n4+Uuooj+FuHcm8I69dgooi5ddlhnSI8VMhMguWimu4ElrpR/jYdw8umh6j3iSQFzCSlgi5DbkwIjrymU4XIHIREtgTTIU+N13bW1nn9yz0MmZ3fzTse4bwuOyhunsNX40IxD9oKGZmPXaDA24RZ7tV0QPHX48az8tIB/mVnmpnj0sKqwoGVMazHxWrI8+WPj7bGGBnInCMcUguoU7xnms2CbHm9MHl+m09EOrQeU2YQoPbmyd0Nu06yq1EvuaZmpBOsJpueKW0M2WW9ZwdEipLDYYvylr0/oO6ivteLVOJa2YXWWXEhdr2pNMMKJBD7IavbdQUFmgxHshz4b8y2TbTYdoURWKDVS7IR+CY8mj1UPD1+ijtGPtHM9LqvbBjrlO+yU+3ldiCkbtSI0EbhFDWGNL/ADnztLFP4Rl4Vcuzp37dUVVtQML3tMSfZxOXEsWGHFdtme8L9U9gWOlvx5G2gRg64duocMRYpCBARWf2DS5cP02KG4Dxb49N5GksCVES/S+h5okztHRV2mMIxhlA6khIXXpNEPZKuBCntB9g40VG7nMQbA6l3twyK5TFy1sRcvpoW5+Mx7XvgcsSjmmv4QZKN0WhOWvaf/1vhrItf25iMF5s1nIqlbSAMdMKi/RnItq3trEvNWsuzxkfiqZLUb4EFMa391croacfX+RwotMwAbUWVkPe0XrlQNi/RuLrQjG558jfBgISRPpKgbAJTZQWWwKMC2QRpdJfe0Av/5jp5rxN4wMZTRU3GBXTPRg6VpyTco/M3SRUuhKEz9Mu8sofUU6DPXk64G0bqtJcpT9TWw1ZZsW4BE/nRM2d2NYi8DPAwdC0pj0l99jZPecHrEPbHICKbeNp1b1HQ1Mt+4/3uSA1VT23uQHuiKumv5v6VvprL2Wom6Z60geqtICS0UyIjOdCp9n4LB4v2Mw5GoPFD+tOzlRpAxnQyULL855jbQVAwh43iblny47xNfkHHKvLljP8pkUGxTuJrvb6bzeHsGvKYtFUtLQ/IxDhHjtJ6qQAZI6TLjF8lJpiLX/Qiqrotrrk6fwLm/LX6kzgN6gPQsjvkVu1EmUH6n6wZ8zZ9dTMx2KlJa6hNNv1tD9cTHCjCy1IzEaxvDWlPcRCf827M0ZclZXHd4jPg7S1QAfNWaYXE/r14XN0vjz9yGhoBccCx1RfcP8pPQtm52GGyNcPB9SgnjnIbi6Q7h+aZS2f4u8S7dY35jPNrTbMWulQv8v7bGy25yC0cWGNW6JUvhAtUelneGHsKzMruvIyYnAWVu12vT7WceBv+DPxDno9aHbV5Zr4Yuz6SKU+JzoUEb/wgfFMN+00FpLAttfJvAGu/Ck033HEjyVOGdvov+bCz03mLOqr/uqcSubDSyvVXrxIed1Z6SJHCT5Iuza0lCoslUg+KONH3ra79okLDtn0VlYF1CZZkccPG9oc11WKWhlZlB5Q+Y3+ARUry+dVry6v6ftSMtowEKI9Ad2Q4mBCPP+ZXPngOuJJlfKe+x62C2KmO5xggxJWKAZNoPsDwVxjyfSOHZs3c7HAnKzikWOa3q7rMOKyO6sdkoFYRTQBiFpe31yJquFDDFUtNe7fpa3iN58JKv3LQE19w11Z21R0tdWmWU+wQUoe8jH/Be/XPg5nr6bdRgsP63L436rAm5gnHAvmOPH17NLoAbftq+n5w3B0XcJVuii7lX9BzVh46LxctbY/UAy0AQKaTl5qjsV3VgwmqzdQ1HSYF1Daw+EsMBCqll1cGGUTTSo0FpsDj4QTtkF1KYAYQxl7z6Azp/DmfRZjFzIVRxDeIutFo7jq4tMIjjUW1Ve2BBNj8tJw3zTxq5LPSXbHSANGYaEoyZbzuONAHlJAK9eWN2pZzaCCFTc5KJIoDgNBv/jfhQSBloBl0GNQtEfmoYjTeJHurF+25114sDdgJIEOg2zx3j/lhAaYzJO/9ZcFW92WV2N/cJsmC1Rm0n+cJVJYHlIToZ83rxv6xAR6RjmYt7XoOrwmGJkqU7OdS1F/Etffa/ymHdwTGOziKIXbyvS0Ls9DXSoYO+BjD3IQGEaBDrDjomY+i8kLj/3So2MTJrGTkxwDFiH9zksqRxY6PPzKl4skwz3DMCSaWTenL3bw0dcMOgJAA6S/wgfvwMxFXL4c/vkK07Ks0ZeaJUqCmXHzvhzHYfx6XAgPxSRRUdSofYt4+2V8OsLPjYMh+EwhdcvGRxN72pJIF2YvgceLpVVr03YutvvXuhmNLk3QJo+0n8gd0OjZpvEJl8htkVnMeo1wctKKcs7r3q4XlV7iUMFJ/Oedjncn+QU1r0U/hKAbdgdempTwKuZra9M6/ALI0qbk4hcRjFwH2IwT80wTdtSq11OU0RKjVD/PAljeBcAzjOX004BHnvNj7THTXjdKHE0xUlrUkf7+RKJy3AbsrupImsTiGMAGHuLJrKGHcwfzCDOCceLjEIFXWXmN5KXeBSYUiBa9Mi7+NAwo9TKicEDYHO9y67Aj42me5Rp1JV1f9K2/t+pLwdibmMxl036uti535NXqPkT49iu3UbiukBcWstGu89u1ldiQ5Nb2AssweRIuZVeU8FOhQTPiIhVXAFJgzM4Qur0mEE5/smJAduWNkaAEye6Vq7l4jkTkxpjWQKCC4MHR3JRq66wnP8JiMiv7FZFulrgA3INYZtQPHrI+w9dQr57EHVQv9x3qTefthSOq0ZLW7e4SSo+C7Dw3hiiRCh7DBwTmdEy1A/5Cha0NVqBuyy8Jk1De7fOhNrspWBJkLP0s72yzKg7578nJ1pYycf/TEI9p5gx2d7Bn2ywKAdy5UaPZGxze+nJv+pHQjtBsCBqsANMSXw/23BsIcCUvFke4UljbNiPWnPjVN3k/kQh5XJoYoLIrnevdiIH1BUJXRrtpshgO2s3exP2SbXseTnvp+81Cbb6HEgx7F5nAWVoszrd5EuhGDs3lVKWR7rpaUE1M6Ts4oPOpflMRNIYeznrv71XgYtXTgBcjvdad+2a1m4Piv8evRmG1VypQxd2jBYFZScJVKUus8xs9mfSxXko1sIF/sp5TFhpDVbc663xRU+LUSV01de2ElPcfHWagFqwTB0Sdaol85unUA4uvo8arww395G+Ok+uoHsQABi9F2j8N9noIijbTctQ3zuxjzW1CQzIIOVuvI12A33qRSrARu3bYk+LWU3zoPzoVSXBgZk2p4WU7/LL3wOlu2TN4rokeUN28T8qPOdPLjZO6zoWDfJXJ3sg55NaIqrcbn5kfTuRfVTx8OC5hIytizBxhuUMYpyjHyACtaF6QPnY/aoHvHkWg6qpyZbqz74UnUSYJ+XbErlouMRb1zXVWBMnOL3w5AAAInTD93H/XqB3NDWwP0MLBjNPlPzLfjjydTkt4/dk7VSR4i43bY3mwrCQMR4buAaoi+0ZPljz0dAv5jDaOqyFJ9yVGVW2ufq2A9reGdT/Z7o5i5JoSKbz3LSbbOySe4tjUfj9kYY4ceSxpd6WXpQdykjTGpyvAIAS8B8xfoptAJ58tH90smBlLon4/X+Gb7D0ECCQlDlBionqDQEBw70ChSOkFTemOoBFIYDyJE6ez1UyXNVTVWPSESlxePotpuiF74ff//Z+PZf4Q+sPlCwGsZAzlRP8pcJuANzhBt/LQE0PXxs9+WKNjapDzxA25ZVhZEZqBAk+pOBDkJB4QBK4Bc77zehZlbO23Wx0wJIZsfzcDTx7c0WYh7oxbmzSDxOXX0hu68OqPiocEWmdWwERvLqyLwPbeSqsLVk0agolcfsqbPIwMuUsqTu8bv0kVIyZ9XQzJn5EnmOuyeN8CMpKwLzJ3BJ6o9WvYnd8nZiROiusKNxjXBGaMZeX8UI/TyNPOz5dNyq47OEMOQC9sCp2Oldr3kRzPcUrdfuQEbo90Wyd61bcFBNj3RFS8HiisxzOfh5et2zsg+2j//uRrxNHpvAW/wk54qXRzvGHV6FSw6OmRYbVxbZFcB4TPU/vq1AN4tzRwitCk7JWZqASrfDnW/YGzRMpdAQZ+uZRf8iyy/sRjgGs4mH1kNzII7LHrcJaQDUlW+OEBV5YEgWR+HHX+kIn3uBE9k7ixCchNabSTZRRv6dQpsCPYj3UxsAxCIvkzsn0alWuthj+nu6OU8M05YLQwTQUFXLPczDK1M5q4ee4D0MesNJrEk/l2z7/mN0dsQmnoyhW6n9DxohaisOsxstDgoPUAvq7G9Am1lO52arK5zYCuSLC+AuZPM80qUZbslpVDn7o7pp/yHXxd/dN1I+RL1uluaM+D26y1/IOK3tkT2ItgBA56zN5CTrV5A8iTiih/E7O+Zz1PkW7lAN/TZW5qHK9NOYVwdv6wG3Guql1LxviZunCJYN3cF/FNYIJflcI5fDVTmOn7AGvhYXJ0pT5V3xjPwljExZU90tQBy1wPXA9D5GZ2bqRK7uAbhpmQwcE+czz/MZQAZE8crPf8+8B6zkb5ZqPN/E5FVEuSFR55IaezNFo89gHVbHLnqiJNxJ+NolGVodcLowN32qGm/mH8Pa7Ee6SWNqudVnC5/qMGKDc3KFaKE+tyfIqZe9l6Dk+a/8f1NiixlXGSGGQpqP5su4tFKJ/6JtbcOiWgb/QIy7LVErMvgKBzpGWmF7vAxP91pUCyrDAPFUvxtSiihd0SDmnSr/SnoroIZkjn4kD90MFiXOQniXnWdkHwObcVcL1JRVTuO1N7dt4HtyXprbQWAcZSiMOjd7OTTJ1iLXjArfnC7IdCxqD0n4v91UHQdP/u6aOjSikyS2klUGf6W7kbzpbts3uMZ3Hw440xSgiaaMXih2U4HjX5GLLe0tVne7A9XhvdLLeqWBiitdNojy2r64ylgxonDkZvyCSlI/AUYiHp3WPKabb8xta91X+2nMNGsM2djyEXBl8l/QDO3YnTmzqMA5nzkqJjdkTUPwmq+Pj6/sIElHJybxHfYpxmTroVR+GgA9D2RLca6z1g2MbdR6Y2BSi93HcbfQ+ZDybSkD5Lju+63pellH5PcSjnDH5g5hKw5cdRK+Srb7ve2lKtwAGUdO9v3cikSqJXEAdhsS/f3d7txouA3CxVA8MAK+qORiVl9Qncnxqdutrv7d0dXAYA/jwUAbt9yD43+Ip2K1BvutmwBrfNOJDD4EkpEmOw4frpEZ9/JEKjWGQSbcj8MADyprh7XkXUr10Wi6nytN0G7LYJGJgDsAxncw9OOhtnJf8x7cPqck5a7IaMT7OqfXRtaMfBW7dQh8U9QEmXOCAsm2jB3DF/wM6VA/rrjeKWD+PW6Cs1wvoEzkVGYRApZGJ6DTvExUmoUMmp8gd3GnxzW2moMVrjwHeYs2AzdYEK53PYPbIT09dDLzha7N0so8wdomC2BSQRhpqaZ+egfssBv3zgSvVC7Zf356gC8UE2qHWlYbFNfuG6I1Fw+hYe1iMa0o3JnlgAS9lCvsXqTrDkaP7WlIxKEmc7zm+0vOyFd5ayzLzambG1/PEvI3Uxtm0vCjjq2/e0ji4iYMtHFJtytg3JIMRltkONuhvBf91tmREbSI42SJJSs0krl980hFYw22FLMRi1JCxLCK98MgiSHAjL0aNrmb/YbBeOelN/MxAfO5rfjUtWklYTHLHjnqoUOPofzI3Oddbbqvk9DZDwBimbWfkWJzH8NYHRuJ7veHhzrpt9H6XKJF94JLuXFEp4gwPlAbhMe9LvoigvafQdwWFHszoX6so0/ywpklOQyadTN9crS9HtcGKw0cmJyVFPBmJFwuTuSUwRONhtj8eelbI8hYU0vyZemUs1fl6gwt3/HwVladoZ23gHunkrom6owG7KDMMU8AKiC0PPi+/d7ML2BgE3P1vgw6kjh537ZY5+GkMSySAjEDOptITtFvVM4C0h36jw3O8NdnOP0QDyv8fTTtFoKNAIVpSi6sRiK/+7nM7hm7O7aikKDBskrS1IoZvl6LBpZer/RhUxiCMiSbtZw6kiWcQOOslRJnahEVsk62w1MwTyzI93+QqBlyGgdPFRT/ZzYSKBLOBr08LlJ1wTTatpZNNlwEqT04B0/YlgnjLpYjz84UG2dHlevvPcJZRhwYbNr5m0yAWulXD/pqgZsUl95ZdYfQqG2W5FiAxtFNg2uLXSITtHunAOdmSF0ZuPZ5y6Mv4ZUT96LJlyZyORZmfktkx2RHAlySJLrhC0mM7Tue7B9FFWnWtFRi1TMDnIr+t3VNCXX8Of6GTttqsbEOOfv04KagdMDJPMoZzjKGrXsBvohZSXsKtQGMWxSMM+Dyro6HA0HoT/uFu3kipYsJzzhFMi4r/3V4m2AuWx3nAS+dHMtGPBm1olv46LRhBlNMxZ/pcvv79rKOuOTXr/kBbIGNf3vBtvgl6UJHCIzIMKvc5wivOHACGGLNwn2jPzibMUVhaj7Uqq+e1DgIedFa971nzo380OEOGYtYMTQAJp1vX3FJOR8UtynxmsYZz+MEy84XSJlJDCiWOm0rbVWkl1j5DRhbXfNHDbxoeJS88qMwxCPfsz6WleALS/TRPyaLEK6e7SoPasjzfi/4HCY+CxlplaxFEiRil8K2hJ/V0fOeEFLfdLTU1GPKDy+FmK6ECznWrtuOew7EdMEOhAQd7Zdmk03KW1NG9ke7VxIho0BrcqjUI9wHb4MdiewDRZP8hJZh646mRrAbfDd9D4h2m+5zklJINEzE0OI62dIYxxYztBWMPtsPzJ9LcFdp7yAlaIboabghUsFY98RACvU+I38ZBD8X7IFVW/cOsWrNCbrKjOn8H7QrgR5pZ045XukYRwjyPVTYfYF4buh//V1n8g9hgjkJo1WY5F1cQ9XHMgDaoIjGu870vfdwGLYv+Mm/oVCzgiQpfQrUdm6VnM+3GzVbhVBIvMR0f1MD4nzGg5qYzSWwfiqSpZVF7TVWryENkGbiyAYY+/vrhshtwGZzjIdM1mMA47tdWLCwn9AKGhvtXTCfscsVd/elMQ6hedauVLIcxco9AgYRI0Iugv3TKIPH675eMZzbaGzw0SmoyEVaNVDXLLixvLFoNO2Qp3TrZKquQ3PFEJf7Y9usWnXbs8II9TrPG2RYzFCpd3T6PcTrC/cuW8wx94Bpz1zeuFkoJQtoGRbvZzQQkz5xUYdheTLMhaYan85yEOygimHwa3Apq5TA11O70jjrBSMmljX15qxHUBKn+HX9z3+ZGz+dqgk+9Sw7yHMr/OZ2bBxqtfBgOsvWkzSBq/b03yo9wvZwXkBBtwMwEynjUe1MHulqwTlfD/FNfzRxv7Yz9EElvV+cn+HFJkgz/tab2L6S0lq5Nf9vVh2m8PgZ4eYJMGnDeJLQ6B8YUqw5OMyowf+HzlqUxTHl8OKO+AReo1zMFYr0rMWlSUTzZnr7YMl5p5KsJ3YwwOKGnnaEJdm2krIb4QDOMikHddgSw5szy1rHVxUcg4aDx5dPioSQSEwLU5KL0iOHVeXaforV9gZTzAkm5toTg8gdYpD+ZBYjojVdnvGI/HAA/ow4ma1tqeZHcUenpi/wXPLA5UZNelmucEVU2ZArYnQxHMac5OKtVDs2d+jbnAcznfmO/beUoR8D3b3g8waqHftCVTWuxTA2rPZK8cob1LLkXpXSlH9IW380sKzMu1bhGRoMt+w9fFQ+UuSgU8wvQ7u4o0eaEthM7mP2VoV8JT0P6qtgee9hqGc0VKQv7NiKSRHlLijDpUo/g9CyM4oS9uk1Q+IB5tGBtjkyLydS5wVWKWNea3zqRiIrCbeLiKvgc/WXcvI6Zp6+l4MOSWDORC4GLzbePQHilM1fuaHYOwhJoq2diHuKCdClqp2XvGN3yHpktmbb273R2bG+/+SnZKm+keBzGLbnlM5J2l4PIl5AIfvrjs1kYxM2+/RqmzshYVykdwxLJaFkAQZxuW3P8Juy+S7bBDC4IwhoEGzuZdfslIE+iSXAstUrujs1gYp0D626lmpHh/ZfFXRwxb+dvgrE+32s9UDq1eSfB2y+uDVRAtVcnVugjI0xjoGsXM5V0cclb27SwqmG6LY690KZrR/2CdMXGnMBdV06ocxxIbCXh/saRuwBoceRdFXUQb3Qyd31IhuUKbVhkbK8Ek/mWZ46f+Qx/TgSudPn8bcAtucDfvY4NZoc2zfnDm/WVSBGCg72IKTuUK2EO0/AXblSVUr4x7oaxpejyPGdcwhprQs0xYpabnO9QLlMrkErcbemr5qeAxsbadcma9sPLMcf0ZJiEua/PhjLwdVPdqll465xAPoENW8tlgA2+2zVDyjVJfhEXYBhCdqIfq21Ln+rCIdpZtM9UCmWM8yg7CkoyLF7HCCXV0x9J/SQpJTlUpmmaSNpJtKxzmgPb9nuocqbdb+xbkLwFZ6eVM0kuihL3VtncGWxTiX+x0AFdqEY6gSENOfJ6oHVuHCGXKap6ugwxTDGY69TdIQ0OTpd18NlBW5KVfH4wytUWweYUToiELxRRSTn/VTTwpWP/PWQLHVpDYOgUF6QiEa0RABKqxxuxcqzcOd0IO2zz+Bvosy3Xa7B5KzQAIrPkn60F8ylrb8cv6IDlpY9wVFT0qbQ+N6tVlRrUKH1GzaeGwcl7hvjMJQiGL2v579wTd6EnBsQvo4eWIKFBTlFGGzJHA+yUc46OyLZVbpYtWatMuP6/9rDdBiND76BOEdyLvknq1c5g3IP63EvV+5RLYUqiLnRbGcR1eoReIV0d6zjAEQgG3JWzGPwsaN54CZmWF3PlkZNqIDmTs+pBa6uktcNARl4xrN1+V72NwtaS+oxqQOjbtCOLjIA0Cne8b+YDBOWa1L9vvN9mxAPonnLeIUh2YnNqd4i6DC/gESL606UWSL0dBReqXHCnwGCOOGaXLpoJlRxWYM8AQsAjDXobC2w9gw+pnkG09WhzHXlw9uOXiJNJAdnNWXh6FXGh2MbzfOBcrwwx46pUDHLPoLmUrl873d84tH1KKM7/pnHsvck6/jpgWvHRBuKNtxdmhh9Pr1P7B2UEbLbCI7af1n1X7pAYELmnwd2g1lkXdkS7lvylktaB4HoZ/B4020gI/cXyyKNHvDBEA9WVI/s+Mx79ta7G1F1LWd8ZoreC5OLY/0x21fUgj9g1VyubJIruZfjty74GTH08tAsxZY1gWeXTTRWPI0z0SyYIOtCEUFIl8iAIWw0AKqVo/ldQbjpzzPxKhlDlLBdrw3Db79ks+PCjWCvnLCC2ltmK4U5nBtXyKGpCLhBKYZH/9CpXrh7Mgn7qSfzZTEb/VrmQwi8Sgmwuq6lLJ6cUlaArHSOYpkAzlZ6jCrcF/mHeWshQJCElovSKS5ShPagOVNRaAqG+OgiIFxT3qr4IZG1O5NPBqrH1ayu8rIHpYJNK8FRIuq7+jtjuG1Mm05LQSIjN3C+PQbmyPzr5YumGR0zr/l4sAMKFhoZBtJVjYuA441z9OthtG3YxOFSPI8DySS9ak3lViuPSkRHofTt3lMwtG+238GDzKxtw7jmbga4dT4NdFBs0Jh/qT6cDF2Bl52VKpSIRC5kmQUB93VnBZDsc2gqGMy7LN25f9ab9vuxNyO8J7CMmZdh3C1QndOmz+E311EMimoPR9pkS/yv2VOnFLea5O9GH5Yr6NgDy4KKTb4FnfU5dAlqdo4OaBPBipnh3YCBVAMfUslQWo5vxVApqnPp/140ztSjqFJkrysnuAabW95r2VbTkYY7pGNpCq7BGwjsD3QaDATbC+pAdvhR71hnBUxnfspPgr3qC9fiD+18xnJc/eUG5PWc1pqBP09KSoOp3b1jRPj0Q1eypyym+RoqcPK4uMeBW7dQfxlV85xhl2deodMVdTlQdXKCCanYW0PBGgZsed91xpWkk8lRLzzPmP0Rj3Lw6Duc4J7ezv8OzD/8ZYkuhoEHY/JwuUp7df/kkaNQhwCLFNCHV8yhsRcx0xhX9g7jEg/1DOvQUU0QDSfYUF0OzxruHu/z75yknBHiA5J8kxUeZJvm+IGBYaFWbwVJ6p7tOciz8rC3Mh0EsmOIsdQFMRJIKikIdiBW7d/aedLPfysqEuIEZLVl44WZOQOzbl4aLkWMXhwxrF91M5popXpRd4hSkqzDyeT4U3AZhP/DgKkvMrSr0HRwIHsdUxReLPKqGNsxm6/7UgZI0uUvn4J9z2HJcbc+Qk8FGr1w38YV7EvBEH+7i7issj6Z81JqKJriP8pG+1zcWLFVpDcUpD0k96l6rh4pOy5RY11v5tJyOYMPTnMynr0lzli9O4yv5x91WW+jn7UbUsDNeGVLxzTobntrYn0v9bCBl3tGnCLpodp+6Tw8+LOck1LMmEMtiw6y3Mqc7ep6N4r8mYzg+Qm++eUJzBwpcxK4ACQwWJncdXu3XuNrlV5j9HKz4Hdm+5vPQnCE52+bV3zcHceMibleV9xiV1vJtNffjT3De279xcGhMg6HztpupdyjMB3P1EtDm1wEV69p9215NlSYnblGZNOnnBtkq1JI89caYKRzitInq04leH0ovYRB3t/f1OjitpQU3CDHc3zxuz+h9tIIqjnPuun0RMFdnj3tVFGl7czBjFtUKFs9ToUA0a/RxKYh1NhYkg7iYUJRiRAqiUGcWTy1lsldwjWRHhEBfQF561eNzvkaC3OaXUToKgfefPUwUMG5vVKiue5TuxTy2uksCLmrUoEihq0lAs+OxSb3Gl8SVoiXHMWiY90vnPumNdXFYGP4vWUzcjjDfNGq7bkYI52uVaFyD1o8sRX9F/FL5kIitPEoCOyUhp5DxjwxcRX2TXfUUwcpX++lLRitv1Fz/McsHfFrMCMeEZFRZ9UjdP4g9AfOedXdTSoi3ef6Ja/juPvmrXsstsERPm7qlUXhQ/RfF3weOZNbGPuCdCfoSnXOpxYgUyMRq8yChjppEqVEqQz1gmGxvHNZ4uQyhMblt/WamTWhQ5LnNF89zz3waNmchuKAYw26U61Z2UHWdPQzz0X8SZtZ5Xdwfx+YVmd2WmNmUED87dqFTrpA1uoHY2i4kKZMIRL95/eF5+thWFMGf+H2BFYpoeegatNvEpyouSJNnpytyJ5Ria+el5roaqNN7GcT2FQyXiQ0WZczMIuJTvWIw4L02Bh1jcxmw5O/ANQEmYc/uJN2oOaouepxx70izwFjji3PxkdOxzBVvPzI01PIox7T90ozqaBSV/46kGq17typkjJkV3V7L82TgQpO00fR1hXKbu11+wT4Mln9vCpV+2LGqi3D6K5wldbxWEzlItttg0g24Nwthxc+rAlG+ufd+CszqhOMpDMlWkLL/h8tXoHF/qOsr/JDEzjaRS42pEmkNupJa7OZQgE7eC7dkl5PkRWyLCp7ROOYOXrVFR9WFFM2dio15rMZ7ftVerZpD+VhNvEMzRlAxWPJkmtNSJALYZX0XWNIV4uWspFFVir3xsaw8NprchMey9YCnlBT/6G6UC85kjEsTGkwNKMUM+0zeujtVBfqFewkXFlA/7XlYZtiGMcdXje5/lP4fT7Uo9Zqq3LJHbxT9sa/49OEHkqQLdlqoiEz0Eo6zrYaTFyqnulhCcJJZCq558hm9loGeQUssl+CWih2mOnSt336lWz+RnKdyoGea31SECqaJbBH/olMqK8ji8IcJpY6uow9MxkPOb2175SPfgaAM2LRaKjjvrgemj6lg92/0KYANc1v+7O4OGdCCNS+lviEUDcYRwshz1NjJ/gkv419ht2PNm5vZs5XiePHWoVjVa+gJo0Q2KIU23vi1zbxoDT//HqT3zNMDv8iQxFuolw/6R5ugIvoa52lGTpPCCTojU0jo7JorHDlEI9FyTFPmxu9+V47Y4CR6vRvNZt74RXfjLVETKwmg0r6JkosPqoOJmxRNMf2uT9VEXTeJerCPmd5xoR9ip+wRAzViqTmdaOya+QM426hdasR9cMI2a4JBP0gGTtjqXP8aecXrAU9GAmIfHFMrDcWva2WbpGQT01qZFk/L3RqjnmGj/iCgY6bL5ndD6ATX8HOVdwJOUtCjpFpM7VM0bTgEtt4Btb+teBA7hPnR5WK2JoOx6tRTXslbzQTTU5M6fWoCf6H0Pwc9FIhpLsuKAsRsSRgdff/Z+q27MiMfHsuzf+1+El/n5mY9IZdjaRMxoKgas7dnqEmNyqDWxZz9wrBFCDlr0R6b1hYtbJ5GfKIJpApawb+KJG+PjxqqNG6/d906mlEE4xg3Ct5uYxX22mj67tIe4f16tCm2BtahMEsys9zoFd37VWrestyIaVz2W4L3tjc82yDBIDb1tKDvNQFB/Vat00xIvyoELDMPJwK8c6M89F/x+mrZb2G1LqrmkmeNOJE7Aicfk9tjEGnEXL0rAvjoA/Fp59es0wSU3LnO+qIJ6c6Pz4viy2mTFdwGB/zCvYwU2GfNXEZjrEoSG0pDCRCWqZe0pfrrxOD2K+UbnaZFlESQy8b9rxRtiRur4o5Wlf9CfI0gJn7AyqUGJj4EbfUHUCGamemJkVJNf7/f1S1EQcdNAgRneIrPFJ1jiXOVESFPshnZy063N+nYpXl29tz1BrkdBcBx7ivkmCiP5774tD9PjFEN5lNRYmzfQ98fczfQZ3rZJSEOKgqA83z3gwYUlYIG7ZHRvvg/gxvuL0k678v6KwrMcgogZY57hcuf2CnbMl20WWJMHsQCCO114vhnw5yZkxM89ONEUt61kQPYK7smDo/UqJUfPcRomEiKZYpEQr3lbn5sVp1OiLL2HzSH3NVwQUTtLtBfVFefNF0xuZyQw3XaTXm3Db+5VmX7PLG+NbmNz10P/SsZMt7pd57COBe82L8o8mJhVf3YDdj1yaz/5DwRau45kH+s5+R2vNyQkhwn31Q77Mhez73pbTxk+ZLXuGz+VEnRA5h5ginoEne/HROc8kqTA+TaFk67wGgcPf22gPSXkMEIWC9CgcMpvJcjT5QJhdSNOFarkzMNfiQBHKGx73QOvtvGk+s/7Mro+hQ+K1pZOWu4/ESXl++x5M9/Wfq8yM9YmBhpyw4Tclkurl19jAX3RDvhFCmKvuFFj9E/0+MR+51CPptA7NLxh/cegt/R1I5TFKlvduJVtgHKoVjDUTq4RE2uPYs/TYGTUMcJjTbtlcHa0O8iNrsDBxINtsWkRx+OnyijALCzzJ258LmvBZjAy+0QV0gR+UcxgJrqkTGZ9Zfvm0qdlkK0PMH1r8Re4fdsRHa0XQDtWJZBAL1tDoamFFVQ4Zu+si5+Y5sTVYv8BfmtFv/oXHcKADwmlKu/pm3zjHId5lfNmcMKiAeZ6fnVdZBqKdXbNSDPW9AkHdo7gpeVMQBEoPVKEf9o2O4Ejd+3kRBBa8VJxvRXVtMqmREystOv2OtzDQ9d8VHCgLSaUlUx5y1yidObgpxP+EozlOHnTOctWdxu87fZa/BJDUXGoQr0UxPgXssxS+zy8rDfwlIRbYNZimpEvrJ5/RbD4Eh1gqj1F6xWDrzloavPl5hD9lgrQZDSg7/NqQcm+Uw2cQeZzXP2pvGavOYi4uNBUweU06ianpOrRDrqnwKI1uNFP40vfYCxUIgx7vQL9c3lBBtYQvC4h5D1VTCcllK2SZ6MXlF2fcEXpo88Hh6C60oJZHBOvc+n/8eSxcyudptJxw0iceiJcYvmkWMs1ExLgBAUa4yE6G3IAwRNsshKfLLGODn0mWTUUmi48shkPt2vnRZgBhXsv/reUp6hbujb1HeDrWk8WQhOddRdUKoJ88EquSQZxxlQNDGv9E5/gEttaOtZZPmCTQxKp7tIEAnRrtm4U+tEkaeLcdpW0kk+xpxspGH8UND18VCqAzUm4+B8b2Qt8njVuJDyJ8tsS8wrAZB+R1HHGq8WkOkDutekYX6lZoeNiv1Vzk9dQKI6aVH1+laWWKWUxIER6PxUTsPMnTuLRPebqytQyu4C7He5ZbHmdToW3UAupfbtlxIsFixZZELBMGimnIPE6NjYnL+N0HbGmigXXg/Fu8g9u4kVE2MUdhnr5E0DY8syueMDArIz3By2E2PATEJSd2k5FXEb9RXAEO0KuouonbTobAb5dll+j0dpo/UAwkoIfUyztjPh5Vv6MhUz7ztsePHDuVh76l9pnidNG36W7XqwxYprw4plzoRBIZARcUmvs9hZ2tw1eXf+2MDivWYVCmMPmeRhE6DH3u1DMtjy1ALQCD9RsUVdCZI+ulgEer0+Ulo757o27+rHijcfFcMWvwRwOWKImjFjoPlSvlmIR0ppP9fYXv+wNmRy6AOKat45LyKienEmc9aPCOudszIi1LauHexGDBiYLxVoGt17FZONAX9Zk4BN56lOlGfaxHlQGh0j9iwyijPTLAdBXGXdCGZOh2JnrZtU24ZniKnzrCNu/ynGHEg6H38jrAK4qg3H6c+5ojN7VBe8FG8bDaHn3ITxEphmEN7ERy78Cq5QW+abxWqkU6bcZqK9UYDVGIp+N3uGdbK/ZvCyrB18/qLvnoyn7x3fPx5l3J2E4cTAiZKeEZ3ltHrLOTcdyJKifpNX7SDveOY0c4LLfIQj7bla663zKw8wMwDDG0IEBYYOuRrkumnPg0ZPjhD04Z0q23fbEXSFHTkbrImxwGwrOOEanjXb71NwvuuNX6qC4B7ZtDchIMaArU+Fdi4QJEZksDo4gPg0XPNcfKQz89fP1+Dvr7Y/xQ8NrcwJ8o9TPfeTQ1IjJnMij8enrdACxEHSkqr4slTLn4P/akxk+o8tsSCGN95+KaE0Ai8MjO58RkkoKq1xqyUClwCt5M7KpqJn/WjXW5ZTqiJZRxqqYZisaWTr1VTdQM5HBdbe4fHUpDhDl+sA0xYtqAM5n4P6nYfd+4XttdEMtGCuM5NDv2E+HUVHNTTggqeNuXaFKRZScQOeQvzL/sRGm+dkkzzOD+jHWZqX1SMecePFYVO/umQjLOZ/U84M+Mj1qp/NVCLmJysXC8kT2/cVpmWJwsbZtoBGadjq3rP3jfUWfIwejqC89H0KamegJPJMAxXjbKw+OB7qvpjZtqhQ1R6N/zVYr/a5txskvYNVuINKq/c98t2Vf5zqZXM7Y5/CI/e9lz10hsCU4JFEo51lvK/hUbj9qDOmQcFwWymNWpdSj4C7jgAwPkPwFlrIuVNkmIL5BCT8DSOfbZbOuvvRYQB/MVGQBTSxXAeaWpe0vCVAt5IrQA85P5ME8/OF9U/F2AELx2Uj2HN73zsuddIZHnmgdoY3PerXvMmUxFDcs27x/8fVwiv6bvO1gc+il0ZX2a/oZTXAiUKLrClp75cYUS12tk2HMKJkUVR0Mla01fdS2tGAOgrU59ZCxl1KnV7mN2fDb4QWBY96HfUJntVMLzZrlv24sUnYgC9ACxUbb6G6egZP1NP6yTCFTO5NTD875YXUmOwneJu9yMldaP3cygbwekco2y3UpezJoXIUvkq0K10HhW6fhfKcEeG5poPpTKEHA7QD5bIKEM2Ps9irSLKwUAgdejpEuPE6C120cksbBGfiNZ115C1POl+S+CuHoSwNY8vQevR0/aaj2pcnBak8bDdEmScnlB3QBv86jeMrPYsk3To3Yl5mo/pbiV29/PjXMVBl95JY8FRDYObORbxxNEo1OO4RJbA5NGmRHAkz7uc55n6mBmj9dm7x4K2SoXTP7SWXv90/5kLh2eV8Zu3gNILdJM6kJbAvF3/td7Oe+TWWVPQ7zSs6XgyfoNlWDKXXqRQgcp+VMcpPvCER1FAbjbiRCTOgBfzd74vamOuU3hWsPM7P1eKWFJtO/GZOqRQHYkgzIErMrk+IWd1O4NVzLZGbqXjXghlt5kG0L2so3hstUVyk6os52xlqqYErvyzQmx/MaSHtE6Zo1qn5VUCRBX+bfeU8PCWq9Zrqi6VxmjfjgWPO7gLgs0URjD7HRwdEefJxVG4cxdW89wTqgZKixD9A/wX6SRdwLeqCluv1PM6ZeqxVqZ+thr09eNzhEq4i7CSuSON1Jvq3JT+datJNIWUKdKmeEJZ/g1v2gAQl+pjiTXc4/U/bx/NA9xqcwBRDrY0J+vSlKld/F44Pw9ik+JBsCj3+NET/Fahgiejg1kEppSqnSBzmb+coQ8Lw7VV4QdikTQxnigMYHwxCEetNdpc3lyIrsxWq0bKIj3BpRwOeL48OHhoQQl2crKy/FFlM23RUqGJtSb+O3BWAdbW7ZaveF5U60OGkP7cSW20VjjdteQqXmfzNq3AhbdziTraEEB691WDFlb6FTMWhPVCDcW/matSZHskYGP3lO18PNZKCsNLxMbakP+8+EjtC0qHgwlBrXBRpNcgGeCNEJy9hrnT/tLlLM0jz20aw7FLRJhV4ESJZP4LzWhDL5QiGb/UbDBnkfL2d9GustiKjRhKf406AbyclUKCn+9IX/wW2ArKhg8TprvuXTvkyEDsEVJnriMbpqdKBtfgRv6LpHjRf4S1MbaSI+pxbyK2ZBvHiyFPj4Z1ld1/0Xg7Rg5gBgyXsGBrRUaKDhWjvZML35MbvWSgIXE4LFilnD7AESVoEIndVRbPM/CQUkt1LSBw40ketvNSf2+cyyxPGKxreOeQhnY8Ibk7k/OMS2AMwGlIIPcUkXLGjKgxTccQVzZYFF6NKFoT4UmzgJJOwX7jdU0mZB89UGNaksAV5JoLMd7ed7NUE5RC8CooYL7JS83P3M/eckg0YoOYY9ellntvqLsY0abD41MsHDDmBMyonksD/yReQraJnL3f4XR/Uoq06m8oC85puz/YQyYeqrIoofWMwRx3t3UVdZgU6tBjALqW8fmybWpUNyZZXe4dqutdcShfdEx73cKULfeWBpZIo2mqKB98sbt3LQaQiWYQA8FBbBSCwUPd61SKiOmRcAyjQgXK9UgOs3Fj+cPhs+8pwvdjl7IvcNIkbr0hb61eJMdPCqB+UxB1hqgJ/7jxhOME1G2Mdxa9ghpjIuXnnza1GTCENx96ysmZGZpahZy1iawzaRWeYl5ezehYoa9OKW2ujClgITJdw/zFG6BsuAlXot7kHYPLVlhB+VgvzhHEYj5UbhM+ezl8n8DLe6DeCzxFO+P8cu9SjENZhbfXaweUOqR9antoyt6PtjfyWxoUcRCdpakEbcRNRv++hWkhD5MCwELeymPkY57tduYn//qtkGhlJiXOP3poCXkj+jYc4B4ro0rDkGVGZZpgAE1d+CrY+5kV62GaBQL56Pei/fZPEZPBYs0Z7/26ceqS8oYWLAs3nYFJRCX21PP4VEwLEx6HJN5PFl/dhOMxDBEm8fJmzMVtsgukNv/IMi5H5kLzkl3v0sCuwwOhTpZXRvGzPvFOELPDIf1CFAaXrQ3EtwsxmU4I06nS3RgM3p4mVJR3RrPSF0R7ljbK8c315p7dOFRGye22J2hcw2t0DxO4zunhmyeeF+XwLWry1z8JLfBPfjYOR614IVgROoH/pZEaRcv9ya3GHKQ3y/BM0hAEyc9stkHjmGM+RfVX/ej0PMMC/KUlISZ+W8f97zCieQN17/xCuLIHTtf5slvqRXop1oez3esrgkY/VZUM+O7gWqvI7yMH9GxSBX/ZGESS6PfFlMAaTrAOsjQw2mHSVu09OkAF/88/mblbmVL3GkDQSWvkLngYH0jwuvM1bYXQ95hS5Y/kSv4Cg5rjtTeZT4cOx1KQWkDxIlDY+j3WuoAIU2AZO8jKGXZPNpAvToMFTrcUsa3Qy54V50x+MjtHJel4BhOGK5EntS9gTzGHi5vrgpn+8/nc84LM0zyIzsjJnSPi8TsZllHdgcT1QSsH5Kye8H2mymv1MjS9SjC5ldSork/nP3tG5+y60cHi3VyVoF2/LRzTVs5uBaM/a7LrJKH533o4KTSSqQUf0r66a5LyPxZEENgGP4kh5yJDBqaS7t9hl0TCs6PNyV/9FlGk/GwAZIu5oyqBxNrX+Y1RoDIPJ9JGzgpgaydpOoCrhzQmDb/TVgWYDIVaFv4YH9GWBZyvh7C3Ncte0tngEmWa2r93eTi2h1Zr2t31rizCrVYVzmfmodj74xCKKfEB1dmSEpoyrbAuVQgqmgWxhIOKE7TD76xvDcwrTivCuOF3hwC6TxCz99Ssd9uDT5iK+4/xts4xcHAHO6nQPQelPjCtnD5dWDkcVqSwKC7BX09jyJaxDzIJtXAm8wxke4oedpuf+tR4jemN8MNyY2wLsRqMscZp65uD/ZyNObZwbbWivy3mo7gf1xVzJOaVssaAni8TZo5dmLCipYaOvjaVd1j/njIl40X5QAj845mMWKI/QN6Y8oZJWOFB4ZCqMhVaeyU5Dbuvl3GCOAGwEvfIiCnjLTZWBTMBdt0AiQqjtf6+PEW5ptiNef+lBIS4q4qlkDBRQ9z0zlaUa8QvbYVhMT4kZg6qtJgyp5kbr8Cf5n0cZXjR2oaMlOp9A7liUto27PaRKODlPMLbgrJ5/UfUHn1q9BmGnBu98w5V5hCbTbbJyme2PMYVWlJTrP+xj9OfhC0TC/dOa8X70BU9/KlrfGxTmvZoyTBwnJTwBnplPr7MkwyH7+33pm9VfzDS0zmj6gYZXFBXK7Ycv7iO34bQucCtLe9NM/+4rZWZ8PYnpBKsIoeFUvxq+6iAOWOv2YNruPeghvE/0WdEMf65NDlsZjuDB6ypSjMnZvTmX/at6X3priL/rSvcZr+m5oCdEu/1MabaQfKBK2G1VTgnpRK/4cSvL+UuzMvapRLS7xbZvqPuw+xuHJYpkn3a1BqAPDxsuu7sXKjg/KemyO5157vL4oP+um1xHMeyUvhDeiBketYl7MdXoiwGOVQYc42rFcZdf/WiTNlTc94uaGtjp88uI6MT+kam0ITXtBF3ABCWibPXgyV1hBfKhjcjXwhsS++Pr/8RUOOpG8rQmURQrJGjZy8bO7jocWQivd+FjKjvS8QklDULrSE23EGHFEOKuv5necOXvfThQsAAilPVPAHsF0PpbBwSO2uDpRoxPWLFj1iYS7J2u+JgSFbJ9vikQ2jhe584rsqzgcHsBSquTf0I5iKP2cplDEOThMUbL50SGh0uq9iPazZc2VmTGGEc4f1qW7HavnAzjS0BN3AbM+5u11bn6MPQevtDnF256HYBSDOtEsISVQJ3D1sJvKW8x+SDCyNHNe5cBV3MyeiCK++oxGNDadqT8kRupa2w+1n7FVj2w9eh+5U2ANuxYVpQKQ9Aw0zyjK9t58K2rX7llaHe8RbT4zTtEUW3tCQvduT/nvqzMoucHsrP6vFpBJpS8sodwmKIJzaxItujRc7MTEkEXZJGZ+x5iZpNsILdI+KlSxCcN2iW7468CuMMt0rTwR5ezy1MWQsxOtWil1Oh7RnscXcZRKT9IJPNcgRoGvXERaoLlSamyweMLvif9RX8SK6BVv+4FPjFEgNDxyJG9FmgDb3tYCMlMCawqciiuuLYcS2zNo3gVBqmMQS33AzuOGS7WM50LL9w7nsYqM5fdLQKpTWugTKnyx8j5fEY5jwkXmIDG01H7FwvDHQVvFw8gkapTs+Z8Wn83BlWTWr8MC9RvC4LogCQeMw08OgrT+x5Lu3s1r8MdmTzSmVIG1si+qMWzdkTrv2dODoPQSKFRPAaXDf8iSRg0fLQIsa4RtCENXNwU8HavbjOxOZcpwsKMNutK7bJ9HKWxDVRkA/QBQ5YDsEYD3wuNbGVHeWOkEv4vTgy5bCeFgC1fTSUk94N81nA7dAJedGTYIVCQ70KgGcCxNPqAMcMuvfl/HWwwiNd+Bxc8wAavJ+QedCPOrSVhDU+fJqmkjL3sJBvDS+PPvHhVMRRGpKUZs5QLEzfwdTYdAsQswGpSgoRsWTLTlmQ9xZZR880HzK6Eqbs7uEiL4/wbEui2yuOc4iJr9PKFTeLBjOVi0t1KyesUerA7/ojzk6cbaPBh3x84Ft73vlBQMq8NU6PmtyW6dstwgKIFTrkxd4yfAXd9TjNN8ikUBUv1nHZSbWcx8OaJUwi7oAX1kK7Kj6tXLcqddd4cvCj53D/8JavLzxLpUm4q2MCeGHcl3TwzX1qDUEjxxtCziEBQ4HlAFFQjERxisTucoNwM9QUMBVoIm3FwUStlXd9dLSpCjkKIG9fKWxjPwFO9EE5FAmP6y1VW4L4ZqZYFPDIK8s/4T0MwtHGbX3A2glAhfFA2japH+2mNBWHmqXGOAQeKbrhqrs32bvUwqYpgzZf0OW0bu5ePpnLylcwVtcHqSI3CVEqV6eIxScO1RVAPkwUwaJ3otMUz6uHDOmQnyMR/8AXk3zEFD9x9Dvr4ZgavjpQlC3VziSBwZEkuS107KHAg9qY15fo3tU4I/PQU8Pn5XIIb9MOVKynMF53iGqd6xECiwlQVlRuAKHWqFDox08x4eyXFYw674t7d57e3STLN5Lcs6yueWz36cA7ZEAk/mGkzKNI7Lipm6hggK8rNKmBfc4LRM78RjmDJGpfURyeaYn83HlOIPmYVY8XTbzuYsjLbsOP4FuicIVX5Q/wrpA9fIXrty7t68cBnv6sdHYN6POl09VMllJR5M55pOVHA225kWk8GuHTPY45JmWDzVHO1dVvzKy+lDsBU40proYTK8wFpwbSVJz0PhYvcXB7T/A4YUuELSiNzfrhEzydCj5w8txtp16IlDtawJTCh+VKm0OVaj40eCS9j1ipiTaa9pmS6pjZuAxOWyEtrnRaPz/SyPG725Pe+9CCBcSV+pLsE0epQ8tJvULPPgiFHgxyBCcfL7sBE9EXqjWkKfUDGZBb2Wb5MwCyThwqe6q7FlZPe2trTuanMeuAMBWCxVfodo7ExFqeEZGsn1OpZy3aYrMpVRkLWmX086aRSGBgY+kYXj1BPEbb/yKdpfPA+S0HvTXIBEA3/EGd5URdIGEgSBGpBsVRhQX4sFpQCEOjDNqq45+j8mx0wdpgdsThDvpzMx/bZWyuAXaS2DWct3vmlUTXpVajhkX8ONR9zewEhKB44Cb7AVVXTMQbi1B/7WOQNDoWkZk1lWxx4Ba0bATDydiyG8+UyPZMp/MO6iuB/Go2N16GKvmuH1epiZGR4C4ANEoejSifhE4ELA35o0SPgA+m1zSY4sxdxfcaz9GLVD1lRa9M7SrTLk5TmZB5Cf27JY6iRQheEQIf3cPIvL7enEWhH3dB7Fy5mM5Vdoy2yQyowRuD4FcWF0yrj16IhRoGqOiar5UZ8AF2dDHgY3AiCBXPoAgyEcEIRqqMywt/phuLOD+KMpvXE7YpncAm4K8hUbspTcilN5oOiFa9PQMbqep7+W9KCNgVEecrbZgz8NUmJO6DIN+holXugewD4vz9H+LFbIhzU0lEH5FmqYhn0YrhpgXsZ9axQNA2QEEM+mXiVv3VC6YPs+nJ1oTauua/fOljPmy9hJ3ZIaQot21ENc/MgWHvMXMh1buNPGxcpLPAje/2koGaZPOwFa2wWabhJ0VZcZjRPCNPAE3CkWYcwnx9z8F1gj9Q0AinUrgCNzbHiIeV4qUp0rTjb0zL6B8tlzZj767tDkEFVUt9AIflfCVnp3SBrsadZmeYyxjukPJvYXbxObKCODUFXDsWv0zW36n4REIZtocboQvXMR/K5nS+OA3QJppynPcROkUg9fuJyJuRA7IvdSt170HFRfCCawk+9pf2kqqYNnrvUKk/mtHNO7pwFqPZi5KfsxijY550y3QZY9d1IktLs8eT4a9SS6YVkmSzMJsBGHjF5XUT97rT53Xs1IPuGIVOpepXwVEZAC8COuqOyjWeZC/JQJgaItUTr+9UayHLGha2kqslY6X19W6dCQUiBIm5UeqVg+ejkGM27BhRlvz8VyG97rVpjB0Pl4HB6pSwNuheFRT+dsnaXkWC5M6p1onu+IjCtpJZxsvS3d4dr/JuU4kOB5wy4r6wdbc5p6KBGB9P7Y1bBt1HcW1SfTtEPpaccRu8CogDmJJP9PcCSXZq1J4Y+Mm+doxwMYpk6JEaIWgilhvHBJwu7AwJUXhLdA9LmkV9oYmGHJhZd3Os/Fb7Ax+VeV29tnb9yOsDjLnhtfkw0z1QXnzH5XiXRnc+I7x2226a1yN6l9lJWUMd3zxljRCjjZ9yyKCa4RiQ40QOsgcGyY6Ad8pnienMJ4kZ6B8M+aU9Q5z+W2nyCImbWN9Gdo8RG5N9rJFSZWQl4U47glp4bQR0/UqN9+8d3/uFvdl00Kmkb6tbIhrSBG8YAuddi8e2V4u4UoxG30rFzig3AkeRGuYZGChPppNaPd4NcPRNXgfGpjxktn8ebfBpr6+xUVJS6+gvlbn6s9BdAp8YbH8BNy6ExseMJEKwX7GN0B9NJF5IVAn5V2/+887yQ3SvEuVs/5xXZTaHAAdsDh2MsbrWxZLyyNKEmC9II0uQVSVIlpOdV6htnAjbgOoe5GHsvPEuK0NNkb0I5Awg5NiQA0ej7KWkdpMOSFf6ubx7jqsli1NJWA7+5z0py/zVZZ/4w/wZp6tvvXOAH0u5P6/Dl9vGhqBt9UQjJqTaqrCWpM1ExiWPFElM0CebgCYO6QOsl/3gU98vEeC1Etkch92D0cYzNwmsXN1bEfNynMc492XRz15QXbo0uJgb8XZGNzNkBBWRdkEgJPphYsdn+zpNbrqDyqtuYexHgg5VM2bXe4IHYaFHwPh2lv1QABkj9rgMTzET/9coqeV8Va74/GoUOqDOptsGOf60rMNc7pAkXxRKsCzPpi/0l4Bnu1/d/SxEtpiUZ2aiOqrBFsSUiPGy++tHmmQeCTt9GbQ2Q8IAQcn0l4MOwv5Sqno7hV1JJs1plodv9Jkfnfpks2E8J+Qz82jA0V0k/FYVvXARQlotnUUOlzOwnfddzQc7Zj/kI46XsCespM0wxC6GWwcsvADSXFeqWLs8SWLXijt7C21tbmbPOfI115HNh5MdFQR2YuG7iYeuVYfg2STRTZXWKaKvly0tc1CqUfI4lXXMLjLeY50SlVOdlfNTnVBmFLqIidccFLcJTSYu6S5QiMiu0AGnuaBUTOUA3cVJt4v1dcwwjEztPLrNjRfU10fbXbUjpVEip4GBZ502gM3PQlscnspj224fGOWMk0mgl6aA5JTrSMtwpU+aMerm6OEwl0DQsGzsEZHQDNFYR0R3Dxsk7LCNK2Gc7e53xgGmwwCgFXsiEhYV5N6MpcwyRTL/sPZqtfG6LGY8fDvxQ0swEusf+EXtTHaBuaxHRRvyCv7W2GS1wIJZkwzLQpWv+nBXVH2ZPy2hxsFLUthtUB5YqBzJugNzMjZXr2ZOpOnDoxD6TkLOVK9RuUOKOEc3F32+mF06Omu4998lY/XK42WEpV4+hVVFnKbiu+ZFq1tZMMXPX/VnDBt1imJGThxa7OECMXkR8NnIxsXPdao3cXBrsB0HT1ua4X+j9Zit5Hx36q4N7lecz0YVK7/ZpIh8+uRhguIUTKsQKUnG4ylVYz4Z9nBVT7z85KIySmuMSmt8BMVWMoEWUgjbFTNyB8S29ZbWQEt21wDkIYZ1yJfD4pKri7nA+SPyZ0/B1idRnMVSo+7dA7lE4TIKsileemVLhMPTiB1+O6XEq8xyEoU7M2/6BpCXFcOayiSiXKCni+6EzO/4Vs4vTBvOoIBSGJnomBGs90hvtDts9HACpwzWFL5E/GXOTm1vIwYAETMZ/AYvX+OkDerGVg2oLOxubGWVrSpDkn5yyeXQC4Cjf1rCnmiEW/kbX3XpWPVayKb0OOTt1m5UipyZ9boV1JBPf0pd4C1biK5w+XNk24rtjMSeL++mIOQX9pMzzTQF4OpOisrU/ekTBTVujwUBHkFLIsVDPJGqwzl+WMMubVc6p49kJdNbB3ulRwZy27M0Cf/FmWneK1o6/C8HwbxZEFsboo0tdmkrTsKLLoB+Zg2n3RprvLoZGTY5UsdE8fSLlqd3BJhiQxsUnU5BNYrLmhHYwAw82fRiTY7ryg0IrFXcflYxNE6jrsZRul03Smo1ZPcB4BKWHKqSmkOmTr8/MpOVnDeDe7HMI1ZuPi7+34lyWA7yp1ivhI71BU/s6OKALI363At7MxfvEfV5HwHGXu8YktzV0jHY97pvNNvy4o6pCQvyIuUdtLH5uDP0sNM5TERV4ZCj20+epGi3G2Yaiopt6UqwdZPKjTPEcB7OdwQ74Ro5GwD+p4i3RYGXPNzVsL7DSDqCDYgc37VgGjccbD2LVsto0ud2HTE6CGSOmSRIntncPfeVLcsQNa+Ie73BMByF9fgZ5KWUwC1uXD1yAFPFl20gQbd+oTsdDMEh3lrSVxxjXSWypp/r5YN/J/QmyqtCbUrw8nBjTDkJXR8MhrPocrFeidKMrcKyowAaTwVOP74Fq1fiv1pjplt2X4eYWeTQod69tYQsdyiXVCiKbyfrsghowrHKXP3f+5foATJkGI7xutabk+X0aa6qrLiApto0WOdLPfmF+uYhkEVKLxMQNKCgIUkFWqRavxR+zIsdlgf7wRHccxrQcgfGk+JWochUzhwiCIUiPDGNycNMskeFbe5ViC2qBKg53RvkAqrNdnTvgsQIB1BRTmVD9iCf8tQV6UcJA8ZrF5jGIBpwsv9AodGKM2sACedSmvO4slEqAeyIn3F3QsyStR4ooGNML+65kybPg7Zer+HlG50tFlG8/9ktrXwalMYTmeb/1FmjxanVWU30/ZyB07ytCj4gqBDMyIeHbFxVIoPJCw1d1u5qCcHsuAQbEWc5yLB1rYP7Dc84UVNH03XnnnRu6roTDcQ0GfWkD7HNTRvIZgvqXBox+4NEFjZBswlbIW+ArXqtpTwCrVr753XhF9UQVkX7c8wV42tmlJnLRMF1iBlm66yMu2KLN6p3bIiMX996iazscZoVedCoCpREovZDqBhLRpJVDNlNw/gGg/ZSSnvPrghl++gqDZecTw58violIVIh13bHORXtoDZqtxb7TKdG7loqc66PRMSLcIuwB1G50v+MBW+WJwqkcsIux6zHZU0eXb7AZm0nWQ4eDL5tyNCafhKDDBDFWT6BQPNkn6wq3FcPjF4WIIqixiLTJq9dxlEcQ7pGZZKjQGNt8QTqZwgpaoY85d8K8jrcfNLsx5jrL/ngYq9uUGncCNhy118Y3+MHvPSFXr8xovHyDkxhTnKIad4Wiw/OM8333iLYBiJd/XLqxBdYS/otxoU08yd0cSVdVc1k8gN3hqCGQK0GqluJhyhXmb4tkVKOZ6PgLAwu+9MF66MbXRFFgxccVgfeGYY8oji9Q3r/Qd7GaFy20Lomh/lP5iduhBrvQ076qvod57cp72bJF/EiilCEXkrsWqZ58/tOVDvOEWtv1VYgIDAhppgLUkonayaXvlUGjei3m0EZLs5gNQGxyIOkbXTgUtqOJFOiXQM0lxw5ok2eKiqY2Hp1WZ59v0Nxp49ps2LXIO7gTx8vQIhKnIzNy0PVlcaNe8REO4qXLow8i8sMeiFlYRlUNNVGMj7d83BNEUg4MOtHJPXkxpTKmQutG2h4kPBixXS8ym+PrtIKvesZh5qXVmdFacsih54kIko1Gip1YuLSweTda0Fc1soK26xmPFgQyuXAxHILcUuWIhuXylZMDTtBscT4dONIQZ8zGdhsGXQPcaXr1gaFpR3Styec/UeuftgVvDPYqi7ZJfZr6XNZL2WuhHBP4DM3LZPVQMfDvNYfyRn10qEQfV8dNoRnI8OF8Y0mJM0pibJt0Ww9dmSUlMq7rsT0ZAsijD9lyQl75MS8dKFXzhdUMJAUHDfZ3n5zfzDCyldc7cXVlABxprzKcpcBL8hPg1WPbBAXf+IyFgQaIdzpqvlhIMjRJ3/ACHwsdgqaxc61qUTe+LQxyTT6O9Xou8oRT+mKQNTdysifvhEoSQIUL5jT7AXWTLZ9UCG6mr2BmsphXQr9Vmhf2l4CHTYbFy7PZQ357K/Hk/ATbWV5Q7k1LlS/OM/np4Idzo0iAMjwzmgyjGAlazb1aRuL+YXOaM5Y+MY6gGvzu32F1b7Fld2Yg4vpbsvZTppzTSDJTANU/vS1w80cRyk+rPRnIqOTdqhw3ZR0uNKf80X+U3l/9tHSGV+1i+vfTStcPkW/ZE1ySe9KpO1kOaHeb5TOpE9bkncU9fJhWud8/5dzaGMuNYf1tvE9MJdg+XCD6RNp1jP5HzLxXnLwS7lDJYciTANtuqA7Fdj/DtPZx71+XNiVqTcMOV+EqOs4bz2fm5TCbKqfQuG8ERJpJfyhdlc2H1kaIH1z4guZdbupei4KVBiizI3fjmTFbxHECg2zSs/TthLj6MJEqvdah2WSUM6pMc1bCRlc580GarRKWcOyLKiD81/6MuRsydSYCk+tvPcIiE3FfNbbBINUyiVYXpT8audu5ZtFgd4/KVmGszWjkpAefoKIxlqU3FJ8aoE40bc7XKng4GBwP4XFSB9Zn3+A7kH8etFIt4ANzuI/azQJugYhdvZSNJVe24bmFez+NK9QPwSrJ0BCP8F/1uDyR4vyz2J+Ktcxzp4kKIllqt/MWra9vblAU6MjKskYCrTBL/sLeDIbYfnq3VE4SRHpPMiolln5CBEZ+hvwIALFdb6i8Fq3S8Y2iDH2Ub2wwUeMLEdL+X1MklWlayS0FprWhVTmsRuOERKXCswAM5Hry1riHyASAn5UKcZP4AM58nuca8avMu7ijy9SXkGe3SmUhigr1OkRm15/H1di11E6w38YwyGQxmaZtWSELwkZjHP/cshjo/NvbnP1n00mwsFcYIyOMqNaqykszdSa7JlVhHmSSDwgk7Tq1vcwG1xUkxDHTQLFdaARlgNapMGwiwCQOgXtFFGDMXwSHDUIiQH2jaBcEe3AHcGWQyt95gVctnBsZTecvd0THC++/9FhZKf7po8vVbHO23kM2lPKREBr1dBIKv1QzmrlZriJUdQ0GYCK6uTvCg7EP5gX4u2SdUKG/MCYdiWf0GQqe9NmSm8RvccOlFKqZGCdiGVilFcT6F8QncoZNuYBobddfdwUS3r1SFH1rihxvxBGDuLfkmjzQX6mQLNgYMMXyt7BLkjFB4R7yB2rI07KdikBuv3clPaQQJhCGQHV5T5TCgwRHMRT70aXJZNXLpVF0r4WdiHzaEk/DLK5cLia8KrQFVHBsrm4HDzsN6ry3lQpbyslBwdrk8VftAYPi37fjdXNKVD7ZYFicb3NuyzoeI27te0Hbjxj6KNH3n+hlHXwZycG96DTf9XhFyuFP5/HJxJ9L7CyWIQvjx3k9QoxeIfTjn2kHxjPpWzab4rTEDOpXlzRLLyy8JdivmPzpMydnIOyTZlwevAuCaa6lggOIhW6BIytMZx1GFDZRYvd9N8yn7BMlwBpcLMOVS3+Pn3/Z7siOA7jnD0tWo7sqqp12p7oMaWmPM3OEVwY7QNTaR8/0vuhATNReKi2e0AgqVnCuLfzO5aA3ZK7Dopabe9ZeJ1RnZDsMhzo1ACLyQ3z8ddUPIptzkprrqDLHVN9Rj67R7w5+NyI9+8mNg3u5I6l2+Esd9D4SHvNFvs+pmUwgtuhMtDxKlT1rqN63T+XydwOT03GBQXIBDqCMg3t2jzGek9sQ/mcEGnZL/IflDlk1ETij7u9KBExorHdcePj5MC/CDTZrLYf4+1EiG6vFEIYVPLzhxXR2OAfejJBL2VcFdF+DMQ3SN6UBxpngY9nSxpLDTQYJCIyO8tbvVfKZQMuxYV+PjhgW41+RBAw45S/cDUjMVDUDXgiTAUGyUDw7tN56+8bXfobnDtNLhdeiA/WLF4X14O6v7rmxdDLqnruLq5jMfrhBozZOx+RecELvNOsSEZlcEmvF8CvfpM00yxEAJnVN4Wj/VIQaeQWXlKCJVoijD6udEmN9Di4lYM4acc2WY0Y6SRDhXlFGSKSxIMR1de12qIwiu+n7VE9NQHAinI/+xHNx9mmIO32xpgi4EYDkQ7VyTvqb85+oPTGBl90O/D2/RN3g/8nld850iC94twTcygPcYSYUE4XHTLHKnz2JCIA3sxiVbkg1dafDu5sL87ZZukEQ4HnRFK085u2rW8ElgPbtRqPewDxNqIRZh5EhlCPz/XqFvu4TzskiSMXyng3ynuYSxkZcOEShjsTIb4Bb0X84F0myNXAdjFnIXe+icf4+hY19eMXVbVJjoMjAc0CKdtYUnC+EYNY7f1dsXvL6p8qcaw4mtsZHXs8fV6MOT+zfXevJjN7qWfO6UZ/7R9MV9c+JPUBR2NfPQOCQNMGpUtmgrzqdt7OIjbwnDRwCWUDvNbmnEjgKZiTUil3LKqZNzu1Jjtn4CeyoQ4lzb1X9763Yx1SfqUrdNcuGtr1sX0Vnr97/8aE+218UUo6VlRZTsjmPK5LvGhRkkloG5vhG0g9xoWcB/jTuRyELfoeZRfuuQh1mxLmHCfrYEwpo9pN87Vf6SPPdn6fL9+3KAIl+I/quNarmM+3/sKJMJaqyOGcG/Z6if4wq8rWE0+LPRXlBI2fUnldqr3ydR2pqX7RVrdD3+USmO6DKpJLM5McIlT8EkVEDLGBdfHQsiiZDa6k6HmjEhvSRrbVKgz8VDfxHJSFDN9yAj7ESuFikgXD7ELEaGAQvSYmboTCK5pHdLMxLDgQcbPwmT1MajJ2pauRnyax4Rsee1tm4qeiWxW3a/spD+kWSyaZ2ROzxyBy/No9NR2VIjnogw87sFQWAHLRUad8N3NBFdG6fivhJEugqvHPJ2csdjquhCelEN+OtNzZq1D2dXnOahYXTN/xVfyQmwlRRrQtr8ITvVJFiS+vHt4UpRylBNOKS5HnB2cE97bFf6siqiImq7iehEU17bX23MQ7zagm329wMV9dALKVSP1i7i70PkHxP2h6AafBprYtaKUhzpxp+En21G3dckyjKvIWNNeHyXYjNqEsii1AjVbXcRkXuqBg4zwhWxRtPpL1mK/IhG8P4h5PMht2Vx+LFj7Vdh5+42ALpW6A+aOK+CkcWqYpkkz6ZR7aLCaDtCsrW5N85EZKE8Fy+8LFy8DuaUIzj690d7UvLZFP93Mu+HFsBdNpbSJEAiXyQIatWcw1S7pnwOU5pDjfvEMYHo9PdaHHHCFeTpYqTndppud5VVnzlZOf+kWfdjbNtKHTJJMwY6TuYH4Uwl/vNwAnJgv2sXus2JD3r0BhjddZHCIezcSi2az9mdfMGvtwZZncH6neuUEe+d7e34gV54qXbAD2OJ3yUS5inuaWH6gUoKXGuqxs0o+lGY+vOxa0JXUhV2lXtiKEsXqdOP/hgOLeGzVOTdtHSbTIl0MwaaRvorhvQrTvGAuvGSTmeJ0k515SFWAE6hMQbhq0lmVpkdheUFUozY8cAf1iz/s4WxnmNLVy86VFiYrtiq11105Mv227mxAVLhhCP4vTsAJhUIpkdt+5wjXOSgEUwfAUzpdjwsslrs0WpcmXbZOhkjCpcVCWrreAmNY24vV/3VrygG/W+1ccGSWR4FUAWYXOaCwLI5ZzEgVSfQzY9kQekbrVCKhlGPSbOqITIzASxIec9QCsRU7WjGuBKEnrbNUO8uMAqiXek8cw9evbpEFUHQFVeIautnKDzq3u/fTrMnlZ8M4Cdm2Ihf57GPotNiVErH0S0r6zd6JJDOpbS4Bcy7IefUv6O1itwGpR4NKWUQVLgGWsR3fDSKQgaP77FQukipejJTMHCg5xoZfLx5YuU7fq97v1DfRqpIHbcLGjYjOocFrJPolwcH1PbM4NDb9irBT5+DPapCayPzkEE7l+4q67xZ7H4KaQmql09G6KTOtO7OxMoib0eqE232MOROKydubd2yZaogLOgp/y1tQoh4hYMsiUaKP7Q1KFwPxxqCAYKUAEg54hsmfnoulmMQKKdVrCpdFXVELWfov+husyhIJP8eKeMsAsc1dGN4SKpMgi4ZWZe9FuwdkhiGy9u4BnErj/ZFeGXUAWIpKA0UsoPbSUWNc2dsMu0ln6YLjzkzeC92e+nyMcnetkizDBRJL4aLNiv2NyJDlsxK9P1j7Q+GL2N4F4DcQ0TaAPNAeSwzfTxzBaftxOaGLgpURB4y7v6ArgCaLZOvf7SydvDTvKKONzOZoZQtKOYGTfFE5XcHuZg/d6A4PL2r6c1dN2FwI0+OwjBHOSpv6A1zyyaihzbrHG89KKLnpXuReQlWhNIcG1y8GML/2aIULvNiLqABwmZnnmShUt/jK+/xCRFo+DyzAX67BO/GmLEI6qmX4J4RYwMIYaYcsPk2nxvD8CRMXefS6dMiQU6CTBAs/nge8tK1NeQt2LbfoY2rIEhS3dEVakuY4JDcz3k0CkrCUueU9AQ2BARXBmIfyJB8oPAYZcfT/mC9qkNArFChuQN4t3wV9+qzd4vzb0JElz/FFfvwbno48tTX4lbSfm1pbogYx03kHX4det6uNxW02UJHHqZvFxuVAQfn//EQTvSMaFqk3hHquiuzb5MuCyz9AUZcUlkkMeyIicaxEsKjZmBfVqnfl1UCwxNmpOOMisUzwda83iLYUjduvssrQXtfqtE6FPNSSbSGSfW0/gs0uZ7FLNNm2aXzqUJqPeKYkLrS4pfG+upHlePFIHh9iby9KyNXeQjzJODvj96okpvZVh/qj/8P1sZ6+zM2IJn/oERR/vcqWQvphmhWQD7M0o/e/D0hGe56lBx2cDtT69zXhbT6zo4skQNV+z6rwVOuHRml5hcTYmg9fqcFosuDLl/p3Dh6R0ortMqba5CKblsenHx0sMGmckA/+lLmTJl0VBKLZ92rLHYnKTQFWWUn4CwESSDXg6Eogdq3MMkcP1nFw11nStqZI62JWcLa4u5QBDmdRT9YSnLpNDmBqFgW4onKE0Id6+8gcI9UgBr40AEZB+DddYa6EFm8E72TCIc+PBVQqg5ugP/Zly7PTv6vCQXmHI/5floX0bw8gZ/ngxqOQfA1KwiPnqKmF6ieOFRW1QBc2wxcWcT27RWxRCGqsxG9QKdcOVWuh0VOv56LvHOiuJmVtKukLUx7bsQtNZuiYEVoHNPXKLqXqvOljCLAihhBZL5BZy8lniXcJhw0+BCFv2X4K8na128RA7iPqHHq4tSbnvE9QKtPwOeYT+5zAACW7m5HJqJYO1f/ty/tuyEDMJ5GGI/H4EveCvmP0q8/t+J/W9I3JZAbuElTX+O63gMXlr8feeu8ZETO9wx4WGroJ0agTSnkq5wy7vxG7RrPILa83bvU/Bg6Iexv615Vkayg7TDqsDMV+/f+sETCqaF6t6Foc/SgEJW9sFI7upMH5Wh7WqMXS81b5lqo5QQ5nukfpiDJ2HaPvobAZIOFnnJUedAnWDkJhCbeheIuww1xIgTDSKepYR0u/sU8dOAkN7kN1Sc//T8ZbQokHIfbRrQCybg4kc77IVbSn+k39PX1bDE3KWuaAvxKEdkV21GtWxqLBnK9VqHPBfRvkMTKjqjhBuZnbgx++fhQHTUkDoEMZOZwLk0Miue02SP58gPcKwmeNey8nx+uHnoFiceBzr+dooakSdoT+trlVoRBUk3PmE5stjtduikPjCIrAgHTVo52gej43BKm1iok9vxNENUkoBFBAMfOP0z8hAcPaa99S1Gcb0djF/0krGgN4N2yWqQ6CqD7GZK+HGmxdT9fZOaMN8BrxdwAQrJfD4EF0Bpz/fHQoE2AETUV+bZFNNBVCbWLdJ5DEzDZCCWMLBcudGSgGV3U3kzZ9W6O8AMihjze1O8HssQgsHxaFrU/A+YtjbB8Sglgg7CpltfkiaMVFp+tx3G85jc+1aPn0O0iQ0sFpCqyYGYieh+gPNfZ5IA8uWsDC22l4qpdf77L3GnSy1JCoFrCiawDDH4zfIX3gYGJb4acm2+uaZDytKBpTJfJzy9w3mtCjBMTGL4IWG3vRxpa6r2FHjP6rDludwBhkObblA/W/tUrn3KeaG3pUeiUX8lZoWDfSKjMbyD53t5w7o2oOUdTiLJ/wixBZR+O7us0k1JwvstO1xACcwIW045KCnkCb3NJW6y+37WLzoTBBTszwUj+8pQQBH5r0ppkIOK5hBqdCpZvka3eeCDspMxO29319GqvcxNMIHmAyznFAnLN5BA7MF0puJ2nGb8TfvjcYjb8YKCcaJitjzXR0L8wOuGMKMKNZ5oc3+hcKXFEBFcxtiFhtM/9u3S5BlFcuEPXumgHGxbogKu4a/ELfrq/5ju7y0KBR5l0oGTK7r+0xGd7AlUcQMfHQQgDTrHrKV1x8IqEgCF2FhdQVcKXFmbg6+JgIeTZIiZoOCJvTx6MyiwrKjpZjdzViIb06Ziial5spUP8n8i2vlZN2VZIPGtDwAEypF1yyMNYxFZTtFbrpFHJfTRsuynLMXpyAdb8ktGMSOX57dwohn8Pn15x43QxK6O7mbqF6e4epNPjDFS2/vamANDGdsASmu5j+l3fbfrT9d/5lonnlqy2Kp/32HtmMva9B400g1t2jp/xRjfzDxqd8QTvedCV5JORNpzapgRKSNos9ljsNztDxNIdNKJFdoWSrG8cJ9fPPOZ9IBIsharUcyJ1Dp2fmMvVM/NgBoLazvKnyzSvtBCvXIkJMe/0GZ38TwjlaOo+hDh4FW2mDekHtA5zlnhtVwLwJRMs1LXxSxJscqFCNMfx0ilCJ9ir+hCO/TrLRzcVmD7Y2viGAkUJ8+MLuIRjp37HM1PYTQblPDNVrMyvKQdE0AwN/y5GtXkCOsVXl0PjgEjxwv1HLw4c6Jd+z+iH3OPao4dcJVojhR4fceiZzw2BhyeDX+Av5i/fY2zdnxAfgFp4gQTXrXvI9yi04OvQoMZX7s2Vf+mouoO4TiRMIqxSgfZ9vxyoiGgBInGW6jQM7MSDO49sCAL6qvz9tU2lgpAS1d0kvWdcDwNUCd6VlqUV1qwN1pnj/6OiPvRdfT3458/XkkSaFAHEMQG/SfIskSNUc0bZ5NKOAb0nKgldq8RJVQ401A+bsWZmlqxfV0mo5pKEpzOflLmI9DM10Uhp9AGL3zz06NMaZeSQaucqLw3/kBXTVbDGyVgowDG5qXOalN6h4hK/JBfoa+d6HtqV17lg34oanAf4w2o8bOzHjUXr/ILjDsQYSrLFbOk2w79WydKNQxWxrxYH7Y/Gewo8N01gGwoNPP+we2JoFpfuATVamvM8o20AciRCbE1o0aAU8FOgYYuT82pGtqCjGCTfc5AHQVOXdShEi8MOPZeRR7oHhNIJCpzIR9sG199dZLyDYtXTZuXCn+cZjAC/wnK2bt8nnkZRcChL9GGP+EDO88M1b2KG3E/ve3aAFe9xjKVJ7GLjswmN4rsI9N2lunBwbRQJTBDv6W0GfhyqyXhlvx6nPi6ewKB6D/VLTmP3CBLrhBPv/Z1kLLXV1jFzGpGtyVXvnyc4Ij/D38xQALy/RaWCQuEsaG4OVmkVTpqX7xxGLv9e3nshSTt9UkPdfb2IxbAQmrcy/FXiDINk5WLn7TD3PZJEHoJLxkJuTYP7l+Shcs+Pkazbk7y3M/MSlkaI5RVM7ZOztOc3JGfptNoWl5UtgB4PCj3dfvC1Eo96eIECzGjJrIwt1xQYDUaC4ZSGJsk5fBYUiq8uhsbRDwDJ4fRqhxv6Y85DbtMuu5RLkWbvnzkHU06rlkQngPOxu3/rlWYv2lciHKWP1ZbUOrTvhwpFFBdoRwNPUWeU2DFUJjAalZVjpYwRkHm2GB3g/JqmlszIJx6g8NGvfTDECAQcf35M9VlvDkBMV7ynGzcGI8eu4ph7r1ciqsz5c/JVtTp9N54b/ttVsRYQk+3RhmJKdiDwZoqmHIYjXEfeYAogFrz3cKrLYZaAADcfhR0pZ2iDv3223RD9SUDjTta50v8jpXdGMGlt/+aalCeULd7mzh0d0wLS6lAXKwSLF7UubR9qevYJjrhRpd9MBvTwD37dgVD7nYuB7ItMdZugyBZccHipqftGLMyz5iJlOaC3VOSGgku+JOft+kvfBbmDAdJoyiXZ/LFDJP4a/K7LFTs48iKuewSTSpuzur6CRUm0e9uBEWmVU98LMUtnbfIQIidvkivOPRLIqOR9cfj+iHCe14/k5F6D5ovHw9Pf5hsP6Ssc65tMFACyYfSz8s/ylzS89NLHZ3k/jO9j0TnbXd/0QTD8sDjv9fisn3KQj7N0FwHOGY408cnujH7BwYI3WsBr9g44Cj7hOge2ej9WEi+sOrTJYCNdpxQqQTGJr2fJQN5L0Az/g4QNTC1gr3QwOQ6PWmHqr2cC9mtiImVkqwuV5qXhRBEnwmRG811HsDSocr7F26Slb0ylpxLB92qb1oAKH8O8uEnkwVAbNAfXE2o5nSHpPdLBSRAQFasdbsfRJQcISECmk3AMXRDvu0MwTkqftgORBKwkFX7rv0TTjOMRpqAzHNFybvNkeji8U8rrcXDX10bDnYIrsxJ8wB5ShYY7+opZASSPFaSqgURg2uhpwBa3RN6+GpxC91rcJW5Zmk8H7C6gmSKVeJZO+qRKsZGsV8aqQDGh+hs6+ETuph60lq0JAqjVYlXCgmKoqDrSPR04xyPE7gyAt2XplocpzAClFcqckhlKxAoLbT39HgZXG01kBpvjx67LppKMoBU8HXMHlWiUK9QR3i/AzlzAWYvqfzQbW9JVjPE9teJCGq6Ke48Jqwve12r6Cy16I3RZdE2nEQuvVo8i7dtxSDoqL0AYXWinD57c9LusVylnPGTlaT+yuIf4fZnhjP3EnvptajXbj8HJSiVzDbpSj4c6vNT6Jb2kmD58ugza1ewSPobnyrCI13qRuS+u03776wdi5wwYltwXB6DFpEXHm1mCub2H7EklN2IONJsIcPVJ27QGyK0ifuiKOJQUZrNpEbd+g6wLaU6KnRqR/OYEdkiwnncl6aKBcOJxQMNcqzGmH2nzgFGE9su9a8lZpkJD+tMdKRVGCrxLJHLSrrsKdbt5jchGT+9ek3HzRRpF+dIOyvegsjB9wIn9+ha5YVUQt6y2iYFVbfj0J5ue03RWpAuVapdY6ZC2Mzp5ta1MR13PSPr1mT3tfs7d24K7HB3X0ztnfGFvgLxrPLlbcrQiUNOfXItmWyPdEafaX8jmfyBVKf7ilVDA4HrYONbVfG1CS+iuj4/CK0uomtRur+0ACq865/NVEBSFLw9P7d2bbckNQaE9H/OQyH6hThfH9MdtA5/8910cWu5EJQS+X4GTe2vSfBUwSxjDXLCcw/La5fO2nddQsoBIFp3nVWo23hfk9rarqXEdZDqUEXy1YHKNrsEjm5dnc9Z2Y046jrgvcpvaxCfE96J+BScjM7ig7ENLDuGeFLya8RERlC006+hYNk2h/e8M6ZmAE2OX5Iyb8nj7wxpjk4QroPCIEHITKyCnFs5saIcS/ufT2XLmtxLERyJczjS+mpdqp0h3Z1B5G32IJtaad+HpCDhjJkOrHqfn4MmtuBVlfQ9pSjsl096IzPYvga5LUsfWbbyoU9YvNJu+Ggdr4AZhrzojVThAoedXJ6qRYRiZ2kmE0CjfIx955EwBt6fciBA1RlxFY0uBCv0C3CArX9j3i2gt2LeqiMfirBICpHovaD2zuffO3jPt1opvwgrduk2DlIV5tIti9JDYezLFaJ2RCRvqzsGETbIHQUkABwJBsax6sPBWsbStifWai62ASbfYBXZPEXNmxl8mbhC16/hy/AsNmhdhksmyfn8r7EYYrmgpYskBuxf6FIKvJrLxpLumSCuB1NnfeYr29zt/Lx6eDbD/fFAihfpG3/JqDHQnmR7KxZi5s5bmn3lMI7tZz51lQlM0EeRxgkejBQlKMly6KuxEiSO8XTOIleVnfFD7VfxR4pqyu1wVoBWXdoyih39eNp6xcCKH0I5e8y6/SvuAneBNEItn0BJP7oHRgj7srG6meK0DkvjxePsCFmZeiZHTqi/rCziU40F442zDOjyoWu5GBrUIn3prouL8w1QMjnSjnjiBPTaOqS0NMzOjTZymQKS6jPW47JMh9P3f3J8DWs3k4Ii69CArE6/xZNA45tEH1TDXlmbeGcVwbnBtzuifo3zuMST2GBpOHgP0SuXFeyvYOi0wG+u4htLjDQrzhNvJY1yjlJSgWlsWSWt7pRWq9fYgan7N4vQ/0QvmUp4TFO1J5HbNakrTUNlJGt3LwBQEi6Nmuh0Jevnpvj1QlKTP60Daj38R0mOb+ykTJBSDBOmt7eR0mf1nYd07ssYa0ETa7H0X8qtpLY1dispWQrX/vYGR5DTW4BB7XVLU9Q5q89X9z0xFIF2KKjHUHwxtEcPjhu6Ilj8Hbci4UjShugCh/mY8rgy/uARC6ndaCsmm5eNqJ10sWI3Dvj5UtLpAbwxCl2E/V81pZO9/49yJl/2VPVbx1s4proshjyWhHkz9Jnp46Yke5pqAXUuCiJUuYLQ3M6Hm3SrRF9GOtHZEz+C04tk+F9q6fp+V6RZK6rbpKso9wTtiW260+1bu48ajRonDXRYhNvg4hE0UZG+eWUUkqXDxFigyXcamML+gdhJlDPgEu4z+u9b30LiqjMSe+FLdpbHr8ON8yp+YAJc+dsZg+GSpEUABy3q1icRpNOFyGBTliEH+5GqHTZV6aAQLDD/hqwYvW8FTkJEz4zzAc5LyPh6zIlAcuBDBloIRGkEek/mxBcvaSNI1D/KCywNbpugb5tKGHcvmrDmEXI1RBS5GUBebnrEos08MGsHczTnC75uvjZBZ7jhZ6bjj2usq3Wwq4AhqLwTod4TcAai7D3jpGr81YgbZZQjBKjmV6+BWFbEyRPpQ9bDJ5pUvRZTDi3zKfZJlrm5Xi2h7R42Gv6Dep7Ys0fHRvhaR2VkX6qBg4i2PLm7erKsW4sDIrzAtKT2dq7M/xp7jbKRKIJQUIeIRDdFG6afNH2wVNtxasuVu+6Gvt9ZnMtDEfDpMNUhfPF6/ZNI4iHLjH90sQGBUdr8iXYO+bvvWq7udvgtIOnlZsYPdvRcCIiJU48njuFr5QWwcfQDllOZpvMF8MaihWtNrDQHAkP2XgfIGObxAkOpISyfu9k//7F0xujs6pHFV5CKZyGeiTDh0VXwe+eT4gp/9RxwSixmB+KEOcYIIN5jEA2HQToLKt8nhsWmKBMPygFpaE/i9YLQ90JVMtzEerOeTECU3zDTBk6a/2qCxdz5SSay4sTixsovDChRx4NuqDrBX985A+sMkb84MlitF3aLCMuiWf8tySvz5m/oyPlvbwfGQ2R9e/mF/2N0mi/w0y76wON69VQ3gcSdyrlhY6mq4DzHPeZUOYag5TBkz39nMWy1at6H4+91kBj99kRv2PRiMsaZlBXrqs4b73K8sP4skNdL0wo105SmyiRiVgCInSgRwBkYh+2sH6g3ztfvk5xLBPLekDqzURoPwEkA9mwguEz6YqAAztV/M7nAdHxfAHxxWAbY9Qlp/Pihm1TQR2VrTMiY/GqPiDINoGx+ys3XwuOdtP+zUg4b8siYdTV8Jr/xIW1S9uNRfMn5Vy5+DQigkWZPvcpHz5jU3qKKEo2fKnpbOtZ5HwR4RPAabfAQos5yWl33C/h95Oa/MSR++17ldCYvGHx44PsD2kPhfEgc6C7mTovszyoAg6483F7o0kw8FIsn9fLhw7GHvDzfmSC4ZnK1LKMUJ4VTyqsHhT3L5ElC33ujvBnaoaqW++E+piIrVb9T6hdlsJm7ZA6bKxseQJAuJNbVa1N5BxcRwrAT3qM8J6tu4Sm4hm3R/G16Fjv1yYTwAWyA/p13sv/xb8hsfKxs1dBsaKAZQd33AMKS/tHrYQRbM0IcIJb1GxXksOj7tJiCfYoicdftrW6gstL6h6Qx/tWA4wq5G6huVJltIM0o0eMae7kpQvFit5KrqghSQBXJQUKc40GT4HnLr/51/9JJVXpjwJ+6eQIkLnuPgrVcjENBWkoOWc2Gf32dDhixiWDu3qmrG1aOfkKy8zFMIr8Ll6PIW16kIuBZ8Fx+gx8FeyfVzX5zkgI1aBbKwDbm3LwFhkqgs4P1TXf/C5lPRGA4loUSemobRU7Yw2b4eS8cmf/Ou7iYNYBn3R4GMb7SI5OyYNox7Y9c80r5lGUjuDazdqGrRV0NQeMofVLb+5o1m5oxUceT/cqcQL19zz1V/av6utnJNIHxUSH+omu2kmXP6fJJX1Y0XSi7t7+/V3/EYtTi7N6MWO33xAgOAWQpMyML8uZ8pjGDvQT4GRBzRi/B0PKVHt21RifwUx3YpHBli/55KGwGpCrql/KrPy/IBcfAnw2TcL9Nhy81zdaMs/b4qGxhTnLoTSazfe5ZicJjpodocM7kGH7fbycQnfyZTQnI4v3H/LqbZoJhvc+r9c6VnByxcXR9QTBwUd+axLhrH2ydMIcTVrBrX01LHHEOiNTSq5uhJY8y85LZoXqOutNR2WT9hBUZ2VuZAnasETQ38TebgoEyRi3Myc3OwTGNqnPCfcdEVcdXOEF7SY/6ZssHTYNtqoUsXiBqVk5Ttuo6CxLjjxuFlXCrzPuNLIG/+/wHwCP5nXYSP8casYgw6me7opHH8HiqnTH1M7YC3ccLpHVvw0JOB4zAS79rJvaJisysJAuroq6mLO6CwmIUxQHMYsmvPmwT6Hi3VtiuTYSN1X+h0xs2LKDpyCooKmg5d7hxd9zYgyRe7AJpZH1Q/IwURnHB5DL+7rPUpZcr9iE45C19v6WH7YpTxoYfg/WBZRBMMg+oKXS4azAzHzxOvIQDIoQ7EtH6qvXCuePzRnMVaovDovcS904o3ewhGGZb5YT8PIGcBZHfav1rs/mpkRDKFdUtzKe2ggJnYdEQv4P/fTdOvEIg2k78EnVnDgpC0sdAyq/IN8nkqKAyGCbARBv97a+Hnegz/U2Oh2OFsleZSX6Br8KCmndXXm2tbfLhJvrazlkZMpN5l+720KtuBTAqSqGUd+h44JWHxBXgXm8jsjIPf8O3hKNh43UyrqwjwHXEiC6U0S8Q7nSVdaZqrtBeWTvDrGQgsFzWlR+36jKfWWhafWya9B7jPfVmQz/G7zILs8GguR23QdfXsoqSWQzBM8ZNCZfeCnl4YwngrwQfq1u3QLuVoDO2FLDK9P4YAp5bpPpzRaKCN45d2icz1fUTinWpvshwkjrQJtuHQlonLyQSXR4ajoT3kSFlLR9oSXLX6c67Z9kXiZLnp7+iFDvRzQkVoKhq20iguwUFt1C7T/vfFFNnO3AKH7IKeCq4htrR05QoR5JXAuuW021J/jJ03LbVnJ44Et97ry48Dyh77FjcRL4JWgYH601gEWCclu9VcIt4VSmhlQwQlJ9Vaa+WQPjsANSorzr2AYbPQbFNpulyqTonedWBrS1gRKKdpdqGnVnKwZ/D9mP2EtaSlurFUmk7iTP7LS/KZsTIo53gAwdSQEHTqIhh3kL03Kkx/Y5bGDiFHjIzXWFLutdDqZpQWAXD2pOE/Z/eSVNGpRV/efdUITYUi7orSy0Cycf0feU3r5XFkU7TVNhlgZResjUA++AXM0hlRvQfVQgDOCR4Yzak81vwHBbXp/Eynuve/0zcCqOK6moXUnzF1O2lQPW3LLORV0vP8dC1nE2+V8i5X905YeQdLDgHoQqf9+hKxlvQ1WQVJo26fnNA+RJF5rGL5gPosaIMq1OehIdgEvVtu/5CM3aByAa4vat9ChY7C388H+oF0+tKElySnoQyoPUsVy9Cvk+iBq17711DR9lm1TfHARY2PMgtPVbddk4ahDOohAfTZsTDL/liiZldnfSoRzohsD22Q9AmyNN0g31HLqA4nKya7APlc0OWLUtLGNmnZErdONgMYxjcGCzg/3blMyv99QB4PBUiRbX3Y9fY/DQ8AcDW00e/q/wXmXLj6IFV1doNRF84eyssJUS0ARNMw/0eU5lx3pw81bx4gAKwrTnWa2n53DhRGFs5IxFi6OtxVV3fZWe1ykWnFG9y1gt7rDL2pwlBZstSgGLKh+lplKOjMjUQWppJhC3cIER5cehvpB+ma2dAvhOgxOkvf3xMxyH0LzBT3ARglcp186MBaWs2mX6IbvX213+rCFhgTwYbacah7tp5YvF6l23l/zpXLfsEDgvFWXQaFkv4ubjJ0Vmq6utRbzBwx4XSd7pREk7iPWcsbcfYH2y1/INWfvuDnnsLJj4J/QaBWu92oK0Vls3OJtk8/OCrzpuvagSlHYBYJjGq6glCrnEzfkf8QxIA14H2tn8SVzphgweD/89EDNzXDzXgZAatwFQ6By18DGkACppSznZmn1dzz8UEaSkd143XxwosT2yqvgMEtEe/9Io7d81+8ARexNq+w4uN5YD3HEhzrsQhzPSUjgV57+Ph5UKr1c/nocUmWMXOzP4m3TVrSv6EwOUnRme6xxwI2ScNWirgsuV9FnHvZQTGNLtDyYbNCdJbyNlzsE648PbQH8lNIkEwcNV+/JPkp9saOOUzii+3hxzT7wfAZLhy/URbYPFNwD/hqcXIRgomE9ppYB5ytN9ywXXiZCBzJxdu1kwHP3dGKsYFTEb1M9fHIdocfqMOq4GLw5ryu5Caw13ai9F213khBPcyrZsoqW1jNEFNn23Il4fqqeRLjhLgLizrUwl46J8YwVGypRsB3SX0VKgWMiiEfY/vylwtqoSilIwArJZz/8gCvtLEaSDJVzfVGIEOmetmrANoLMNkZ0Jt+4Pt+PC2KRPZk7aboEuTsliXk3t39HB0Dc1gk1Hwu8EbVwjfVA2Qfp8zbg0sQpPn/2LBpYcGTs6awB75c/iw5cp2zLFQYLl8Kwc3bwS9OQNV46HE+JsliFUBL3zIZUFrrfhTeyOBfTZKynZydKKtWIAW/WzlztQyOeMRxXw9jaYZvNFIrtEr4CSat2GK03irk8EUcDqJbTpWCjMe/ebMEjFXJ7agLY5adq8UhYdxvdyjFRih16WgSWLzqVTD9PfuZJMURI/R15MyFdJAUemgf8KKuwwPfAw7bwnaRr2hKf9Y3+KHyN4hnMLCjBghq85owN1srJRzx87XwMO+xrFnI98BzXC89YEg8uS3loML2hKft2CJuJ2BkVYgaAQ2jCLHDcFwPS7zDLuL0ri2/+2oA5wWju1uYQ0RdaO+RcAARMxDnrOTVcgpAZI7Xa+MSMPJoXOlNkGRD/BfnBJJSay1WKC/fTZTkJItwnFsZ8adoYRKmcX8fT0Y9L1R2vhEwswBOXQSnp3ZdgIislsA0ExGLb/bSz+88voKT/r5pOK9UktRFW3C9nBYxoa3MJwTY5wGhfUj6ccQU0wceX18J/gTc2kKg0ijKnXwtsW/rrLHPlrdTjHYetOAD7Lhp6LgKW7RIaEqiE+43rjJXmZzu5B9Jc0TIbT8jAlDJB6/1rNqr9BwftQyme8AXXiuGpS87FnPDNplaz2hPg/etnOPqT0ScuvfLQQv11KzY09qpSIP+YdeyP/Rzw/Iv5X9Q56pZ7lk/suuzY4YeMQSo1jx6A6SB6Cy5b8AAIAQXM6apguLE/xPno0CAOCmQPOW6Y8JJYcJPtiiICPIEMH/0HaaBoIPI9kO2gBEz0SuevZduTqE0PIlGYQYkrC2WA1377QSsSHtgTw+uDTfZQeI+bDKbOLON9UjYH+192hZ8aT61v9QCTf2yjbvuqZQq4J6VSH21XQwzTLpST8BvNxiy2UphP3b4hnwGtyo026tWMd6Wxs/RLXZxv33oXCQZ+vgWlOKnF/ew8jPiRY/1GNV6ETQd/Csajew6eU5ZRjARRkU6UQ5P1xlhanwjOKJZ3/RVV2dtSeo+hKBXOs/wEuY5GYGMHNRlmufWZE8BpY7cTi12tmj6EDcdQuWpliXxHMkzYp/Z1LQGzKCCgm67l+CO7je1Davs0HQygMqQT/KecvBcLp+JZP+hcp4/8ByNaSSP3J3QXZiMPiNyuiV16sTehrVYnLqw/Ou8rXYvovz/mwBQNfSWYUMDZ9S7+uNVxx+03JhrBp1Oc3/p+UPSxgsY3657EYklZ4SfSVNqT/Gn/qfLknNz8WzFd3U6t+bztUaPOGLmtYQRMoV44JD6DDTjrywYD42Hn1QxcPeiwJPNDbr8fg9p6OTZCu3PwkVxyaLDtix3prc1jLG8ElCWaBZxsqq4tdNUfEj+hiavZS2lFdsuPxb3fSUngsZlIRf6vTIYgIbVLvuF0Mj1qri9mT3FtbiCny6ebFhvn2EDQlxCkYVI+DfPDHaae8yfyJKFaDXYqsludw/aTK8QuCc3p4c1zPI7A3OqfMpA571n3atn4t7gZ1Eg9DI6T75lNO9IRhzdZBRFRNXWY+o4hkIUGtvox8TYNvpFgoxvErmzBtjUi10aIl5qfGMWRYQhgCSiYsH2XRkwNHZYDQ7HiDGlsWZ+ew0U+CYEEvwjxoN85Buc8Y6qsCJdwT1PjUH7ASa6LdGFlhxbfE2El9jDKSWCoqwzhJK8xfLRiJ4Po3vdlpnFaKSswzO1POtNlPpQMuUb69q0LZH1l8JJ8lT9oEDauEZ6dkH6DyezguzcBrpEbBDHWw7LbPlV+EBWx/wYjZhvXQbgS2/GxfRbxvprXikIgMReXuU20hIcmLwZTKo2sknyR2xskqBJqzh85VX/SLz+A0JuTWjjcG3KaVg0Myt8bpR3Wj1jN2909YaIZ9lfjr7QD0Fl9EsIgpYq0l13gWDDP0NftWAebIQYlflhVdImSFo/c8ITHhhXnMzD8poeQ1jS5Nq7Bh0gh12cCCnIz6OOgK/z0YliBaAixfRqWi5/u55/Wt3Eo3OmJGUR68iUS72/1rmYt+HhqoeSveQucutrbGadQSbEZrVaICvDtIuzz9niXtgIzfHYH3bkG7UCHa6qp1pJsxdF1Gtp+621pwm513hSQwYP8HcIQPAKJRjktC9mNoCzb10ltOl3zrjuEzPAITadRoRWwD11k/AbuBbBgkySqFbUFW3Vod69B0dpJSr8/s9YKBiuAS6OyU0QZefQf1EuREasoItw6j6l7m9+/OmUL6Fg4dU8e8xfW9TR4azZqmy91wZIakWcAf6yqt/r2QevroGyjQppem1LZL56QN+53j9nEQNSnfGa28nBKJO7al6UQutpA5lmyHHukpJjCdlCCCHuHerxY30BYgabGqtV1GnJCyTQgjxFECErwu3ACfqvTDqM2XB1SmRjlO78OVb5EqctuW9a+JhpQ5+cAcSn1YdHt3m8s5ocoBMqoj3xDy0Ewxpbft1lfJpaAvYAzHe9xoSLiT0j5iafV4pUuH6XerMMqk+Psg2IaUsa9+TBKmtt2MZswAICfd+pX9cxRGz6rBnv4c8AyvNM6+2uS1SWYfNM2uPG4qbSxw0fecZSG77jYPgMwLzBu0mBHPs7MkmZL9cOs+8y4Og1utwRgZoqK6EK8O/NJxTwFIicVeAN6TXkLEhzfsFuoMDhfmudvQv8wVfJK0QJQfsTDupbir8QR6VT47crha2oPKh45kPG0696koEkc2Q074ee6a+9xPWmQLdMOQylUJjVSnw35DARJze4wn1Zaq2JgU6vWpWYj/hwjN4MDk4P15OwIgQIbJf1LsarmrE4JaCGCyUXscRWa7Sb+TnNXuEDAdVFVnfyhKlCY33a8RejirRqzgxjIRxPKoQhC+R64kVkllmTc+9tbqQ4TBeN+/8fejHBcO6eQQKwsGZsf+f8RsEz2EOKsZnrmyBIIQNF7kvxPamHwcQfkhzoaaIHFbVQ5qcvUlx89q7BoEuW0MqYEGrpmacuQWpQ0DxXq/df4ASyFV26nfSd9NIkUtdqBRPId9KlcSA7aBtOYlo7G+laMMyQ/TICPybOjeFtPL6SIeTflL7CO84wlB5eDDx0KiI99njcsUEmR4j41SHl+27HixNZ1tScANG4tiafuQYGcgo+3Zt3NSu6CMph8O7tcbzRM39RmZrKdrzUHgqgIkV/7fT+T9slNnkFJKpSjNJv3VosK6WuVRnv0z+Y5TOMlLsGlyb4gqJlV0d7epXSHG9UhhFPM3UCUgC9M/NueelYlmYBdN2yy53X2Og32hkQLGygbd6nwIS7bmcTFMpj4d4dQB0UhhWhymCpOm5Mi8tenZVX3DVITEFNm2NLDn9sHVRypoczUplpCjyk3UHnE1Tdzu1sLB34PEdr+a88YbOwYi3tseyEJv9GJqgECfXlpq4CMOu2ac94GWIJkJDfdZBAU/jBsZiWCh7ScVx9a7MvalGmC2UYzFi1nusLUkl4xELvBfbeqNJ7JTE9YSDKrP6yLyg8DNsbXM1Qp++sz+HoZ/+n1/W3OVH6TkcDUndm00UxXWCuoqsPYQBV7Lw9lXF6WVBgj+b14sJ67h82KIrOCcYHKLyRssKuuv0KP25LcompY76FaKbhTKgcBYXGqfPofprPPf2h3HioOhJhmmuz7eKMzOxA9qv+7pqmK4UI1KTkcpi/PzGR04u4KyTVZzYUjOyyktbDXojx89p2TtJBzxsqcf9niqtn6aGETbcn6MEOoC7CMt8Ig2xyB3/ZTAjjmG3M/7Q1ei50EaXkkpoGk16NhiQYTh/0psksT4FKZpUwZnZuYFnwmqznXM51WaQGipdv65PIcw8ntbRpvw0GC6I5Apzi3aU02VxiCDowxSCyEqVfWO31/QdZwCyWONFH6S1nCk+qaEznJgmxvvwGJIOSavR1jXH9SOd/sX3atTHSbjZzF6QlP/dIF4grTxufGEdiGdhF0lYUZSqXfhuG0c/5fPWbVyvP2ulG+7CLENhrOwNNgLoCXg0CAFkAMJzBMD3vMHsDtRwxnnSeS/OriunmwrR6fZeUFmjCF4cvVV51m0JjVzUybUkvnyjbjEn3pRY/2FO7c2huujREXdlnImUurjByZWOPiVW0caquubUuhNc5rNSZwNvAb7Nw4ceV6NAXraBh6pDFTEFSCNKksl4DUTcEYGhpiWtw50qJft75rK4B16ULFHlSHeztmcH5IPvrGRg3O4m5JAc88bUEbDr1ZnpLf5ArzlXkWAwZ2Gald+qX6FkrjOPnY/AwAkD1DaKs6M7qpSgOEEY0DwIyN9YirQwX6QWOeNiMBXYFenMjmjrhKb0XTzC8/0BVjijiV/XMpJrHvAM5mA0KDKwWSD6o3sK4jA2ZiIRFaJvlWT0HKFjB/ujaIMn7UguAqTzN8BIxqrq8GRo6AcGiTnXm4Xy9p0IW7uLSFDwyOgw/4lAz7dOqQ+gXVhhdLMVwC+O6MKIyrZX8yJKx/U5m6CvJOFKfhJAo0S7rwM/4OwiBxr20ht4/QmzeROAOrKB5GB5NZB9+kjzUUJKXgtvSi8CLgZmcR9WuCu2QErRSCJrKMFkf3q7lm0d0/u68tsh4zeVf53emqJa4Khr6iH1iNlZ53fzognGSQ+l+INSVfKrbpFGS3QIqkKH+sNsBWxiOA3ED3k0xOclyslMX9fOeknNn8BVntqUe1ANUtNWbpk/EpAN1w1o/zH5dJw4Xl6hXo03gx51x7spWQQYr9WQGFznBIES8BVxsQiaCgAgb46YcbLBOqufxxcRMFaKmZCbDf3A8YSMy+1S1OqfnKUdjhK84uRL7ajmcYq4+f7uhI/aDlbtmBye1ElI/IE1kNiCL7sTcYydvTlFwIzDNdqp8S1gkN3JFEWVxDAYjP97lWt/weCP3vZuiRrZgBd69Ue8QQXNAOXSrH7HNNbuC/ARQkM+hPOlPDhpF5Q0XsHGglCGm4aymkU5BpZMUP+DPcA94F2/rsLWloNAPNnwrUhFp6o5MVFwMiwbxKXbaJUQDP1xgubh9Eg/vcI/EZIXOhu/RV3sCII+6WtJ7dPXBRjMbkVDnZlPV/gDxEpeQbi3Pe4yhgeqq5a+YqDK0SASsURFpu4MkiOIl0OL1+c0CDNLrXrvlhRJlMtGfjK8rxU0Pe/ePkOzquzRgXRCrvC5kabyRu/TLSMeHDOC5WKACZ/F/FuXMczF+xgszag9QTUKs+f9FDf44hE5ozaBQWx4mfGztQU3NZnTYK1COSp8qYRe2Bpea+n65S9uJfVCGkmpK6b02YMGcTG2e37g4ay18uZsyqEpNw/5a2fSY3RRSeBKz0i+AmP8EYnSoveReuLxt/QXuvoYWrpBqjCz8QCLGZVWVXmLC4JJ+pyW97OBgSl7C0cIOc/x4todrSE1V88XZPTapKOITPxiyf0/xDnZ0vtW9mJjH2zKQbrXrBgjZh2r0p6gKjcSkr1EfSBJaz0Tm0qg4XuqX0QbRGf5yJIgRGWqWpZB97/+RtDYrP5ZWPdgcUIbRodHwrr0m4gW0KPnbGsrxfqtCzcYSGCZhGILzeXFvulsvCJXuXbMnM2+E7WcpHPrQuPyV327oPqLmOiLIljfVn1xUIZtWo2+dC1OvN6xFPkH++d8/GlLyDzWq0fKketqqY9goQHtLVAIjKXc1Phswpi8frkmICPKijrD2QZR9zpWV7ptNx0XI3PHlle7Qdl91PW10oZfT1rtqUaN56Kagh3a++XaugaSqi+EXVuZ63Q0VIP5N+PhKF8PFwTMktgY5FcQEWN92t8AjypGGyQ7XGYbgYdQ0Ttf/Yk9bo8rImcPTIEzaUJHFLuFiXbT2o9NDJDUNHIspg2KZsRoSQSch7cQOmmsmfVIQCu9N60iL/8M197Bs4YlDChGhxe7Pa4Uenv1Qg+Ej7sNObc2OJRqObxNsSMzOnTm9PmnAT38R4k1cHVGhwrI+ayOVuDSgKqSlFGV/snDf/v2n5tjBjkHrdYzhbEWWbT9imJzCoqGho6ew3FJe/KewZi8tkGbr7DwlZbiCqo6YzzvPWVHwJv//xQqmKrYlPGbC0wOfWeFHgJBjQhTkZh2XC1UowG+Ej08dkTieOKjKTIfLR2UERZGpHe6lLI4d4nGwVeK5o+rMUW/3wy9zhO5ZjHO/xRVfCdm0mW5YZXnU+PDICZmNpW08IfotqgNpHn239meXOny6YBTkUzr64FYF/yy6ifZFGRQN7kmob64TWjBhMeXI5DwB8Cu5YLkQLumnfWsYgrySlmSZnGrPEaV0hZ6RsuOgOlx1tiHOBa1Q51ssP2ZvT2RqCFBJGftDIr5A+ojMuj8DBAyLR3I43U5H4dLCo6VwLB7N+Nx1dHdXu1vTw/rP4kJZ+3xVt2fmGovdpyV1yO2d7pntzfNSr4j8nBDPb2eZ+9APW7DhAZyMOxjIblhJqv7x6dTpVfKXpIPTqdxOjQB+hw90EpwGQCUxawkUrQapg2Gzql3pbFsGzeznJTzG2auHZTrt5iOvHrxOCrm5mHm8LJS2IxU9162VhZCv8eNTYRahKiO+QWbBlkmUsTW0GsT84o1uGd+Sr6nJR/j40JHKfM/kz2iL1vIg9KqHQGwhQsxzOyNBcvUnXyhJ6g7BlFnPTDMmDOQi4UHHZKoooHdHzOFxZtzxRWYj9buyzegFyx9UYmU77z4Z0mUJSQxQNq69Jych75SwVKNLRErOmvBgoU+oENwMGftmmpL5TCCtmkQD8Nqv61e4kbV3I5PUOF6g6U0L4mMM6Y31zT62ucN51IgAS3/p6mpYipvzukRO2wriDLCp2inl0JWVHo6TmgW3VBGE6OxIrhRxDQK6jVmwYpMm47JvmKyV3/DuGGcDzdc3eDnRYdPcdlQvl1lexjfdHAd0RKqAo/Po6lqWYIEOCYAeO1/I+5dBsyPYlyhLshUsckVvtTOTo5heyzGmRFyfADW454Pon/R3kk1KlYNf2HGrtiRPOGobFPKiXtUhMD+ThRDBD12twMXjNJFIsRc51ouBfKukRW7BVwA/8juKeUEghc3gA+u+Ff5wjE4q6TSW/CfP4LPIYl+Xu7HF1aLzzcFVSeAm8SOPIRbvgRLvfS+R3o6csx2VpRB1yWcQF9V1DT3mgRwkeF9+pYqxevM5QChFom+bSf+Y2Gj/5m2/WPZcsQJAX9Cyf5T6Xux/VTeEdoEJxyEcItWcB7fpVxm039W4vKxETwZvwB6XE+eG3/msw3cc3OX6UpNMafIEmg6GpNVlKeGPKms9yh5wFrejS7ha/zd7E0OKsg0I65f+VVLLBZ1p3NKDrnaxTXyz0nbLEaQtuBRdvLybInFMc3RveVE34+BTowCF2LKU1awChppsoX8NQClfCf73J/wQYKFAtqe4AvUiW7xF7GYixt2p2HqLq96YsPZhjERRc4C7VDy9yoBV81xCIjDm4LIpsG7zVs59xWPGRpVgo9ijI5CspOGrU2pk8RG/qqhtg/EdbqT7sl+bjwgZ/HlfxXO2cm5cpPXO0HxBkDg56rjcPVrJ9+yyNCKmFoeD2XdhPsTIcHlYRdfieK4fY4762VNS9SBGXGsuLMUOa6bCCz1xASqbWlzJ9IP6qnwCR6jeWbw0iyPRu2CNn5+845MGvJw7S1rcTVBT/n4WlbTMmcmwYx8DZgQospbcIKtvy2RO6nlD5Tl2n05R/HzB2HqQ5KcYWorar2dGavBp1RI0dKTFFrZUgz6aXp7wxDd3+GFoufrzwRlz06MKidEKdMXfvPshjYX2nDtA2B+/uRa9j3oIby8EaCFoxzY0QDSJ758oK34lVll8cF3PGW4i6nhaSph4LyEchOtKYLOVhV6PrC9RUtB56Yb/CS7Q2LPXYA1QtoRnOj/V7fsprcuQEvKnol7mlfQ0RkKom8h39GZ9YhaDlPSmfTg6WjdP7cu+50HK8Jxe0i5dJnl5FxMudDHVRcuvlGb7cqNh9HRUIjq+k58pCohAqPidYgY/siba6mP9wnUOPUS16/c6OlBI1ry0zWsqyPK6zniT++anj5+GjUmz3Ohg27wSaOlK0ySSDEHGkKeJSMaV2zZlWmyM7kQ77bVm28RRfOQHOxoFAqH4/9jFOXWgjaPqIAikWF/d9qjAsOP/dLSpzZpSYJnccm04cdWF7aw+zjS2wVi0N5+CYjS1irjcvZioC5snt4JqtUPtX3dBaSKquhIv6qixLuVHwWMhk+Yprx17Xp5OGaCmz5VazV1TjOX7F6gfVXShDW4sbuZT6/rvX4/v4qqL0phguv0w9C64eqoCCReo4p7O0Zh7wBOYgZ5qLTK4AJYjq8aozCodnuZCiHwvguttUcAog8h6DWX+5QtlGpfreyvJbQtPE1cV9iVd86xkc/0iuy2pDgqH8M3t6nJqqYa2PSQKNmxqFCokKzsmm9GnXI8jQ8hlnrWvniqBY6/pzFYrRCImtR9RpaA4sWpTRU6HhFk8g5t2U/TL58DhUbaTDWlHcBdrvvP6qhna8mNbjaSLUH2WJAgpdM2WlZhgusQs6QO44t/FAz3cuw3v8EVrIyoce+EA6OBUYCLSWF9Qs02etDXvBciCfEZNL78tUqmgvhmfFeJkroMO7LhjActpEKSaYL9lyKwquZoumrA2bE6FRrPx7l1cqnHlFPtvUSH9sDiSKNsK81ogSfYNuAo5OUVBY4oIKKtZMPtTShgaXK8U8IhIsCoan5ECTN+xzlVjOghoR1G/M+BWdkgyAAux8YfuCVMSk5l/r7aMWilB4ceKOHNZ01q+8FQ3LoIdPKUbupaPKRURsLsFB91sP49+IrXZ4nPYoujV4IWqyGxgZgUuxMd/TyxjbXCEq5szq2/TpYZ56HevaEHP8Jb0o2YCmkDYZuL1OjIKpfDE+Iray3tbxV8jbX1LopFYUrCrmAkeZ1ROjNY2frVvKhAKEqi1EZ404OZuAM9AbbnYOMJ3bZq4bMho6iHWnrE1y+w6tQ8PlGBCADu1dxPsOnWC5FyXssBEfyaev4L8ZEPHboChuEBMG2NqbFOHDrzSZU35SD+Tsm2amNlk9n7N3ZWPqOgbGRs8LYN3hfuGUCavyjft4BnTVOKY8ackdoKLyzK2rvT140j0dupyy4bqUQfl9w5llYgzaRYiF93IOd/+ob/sqTJ1iz0GMr4AIscX0eiFIl7URgjPiXboHLfW2c9JyIOh1u3pyie3ZKhkfulwfXYaPuKZWdgdny+HxoEOczTRr1DL6BF0eYuUXPltceITlIFP7rv96mGrCFcppw8A1EjSuzZckfCtBbnATLXqiVe342ezZfgTe3JbC18rByc4pd0559VIhR+E8dURXNjK/fHHEf4xlmdSS7qpUxzCNDBou79tkqSmAsPEpkVEyaW5Au+TNK/3zJtVnySE3uOH5fCnpnlw+9kPwkCOQgNkMdRl5b24iv05xzNKt0uQsyP3jIW2N/XyGF++SGpLPyJziSx0ig4+qekoPMA+QfJOOUjYTAWSRIaKgPVGgirhrpq26cs3LN4eMb29iFukpJwWsaIZ/RA26F1ttefE5i31dJFnn5himuMmhEXXYP89UBbZ67IJ1jv2XkbOpUwepO7bcdP5rqqTuZrEWLVVmTWDTRmPch4VE5xWOwx2zI2mig/JSOzaLX+E4rDvduLYraGr0KC9LWsh7vlZn6s9pQtOIy0uNk6hWU+UmAz+ft7PxaJueeP33HwJYBMZtacrm1ebdyOdOYcQBTNNK4R96bFBnbIuOvsvYSr3NRjSLnlD/xK/dhwbPfncm6Z15J1zHWTa5mioFyzxJNrPwIdvcYsZKCaF+sbCZRhVgsmx71QF2zlEjX24xFtiEXSI4TAOdiu5e4xPzZQKfUWHMiKv2TvDOi0FmgweHMCLjYy5eIDi5pTAlZyTmmHX/+JBYx12OcXYtzYKkfuXaek/BvogH3dhB28Ju0jgx/2ys4ANxMSmm95Y+RqWta1qX2RVaXwGriQDRrK84zq0mzqJJmE5qWppGVQaeg24Jh+geQ6+IUp/+vq9I5jcQBZoJCjCxna6Bo1Wdz6nWK5+8mjtXz0EjaaIBA2VvisceQRooqUs/qqndHdrzbc7VomADwgZuezOviB/d/Gazms2ViQPiPnoclu0hWA96KFWd9uRsRG28yz4tJaPWyID2iQn9MMB+x5gHoLcOSofDJnrdH5seCL5qDfuTiE1j8/3bzegQkCDcVc2+eYdUxQ8GjS/xAiZS4U1T+wJhPcb4I2WzPAj1W2TTdQ/kALqOdaV1tPKeqxmfw4ZB2GgodAz3DyjLz1Q/QvClh59mEmtl9VjZ95IUow1Mye0jxSLu+BKRMO+sIVzkKzzIXhAlD6GArwrSaws+sBC5jQ8RkhsLO1lPBMTWLF28pegumWhWxbqXaCeQIqsE+bvjBypHQxmlVrjjnVjJ5qCnKVLYddDisprQ91JA+Qumz1Ax0FfcEH0EwQqcFxgUaO73gKeD4H701sOLyFpVjc9WWsu6JjETd7ZlTjJeoRp2SBnRrb4xBTrJiFi+HTIkJXqS3GWrxbSV/aB4wS+Se8fu5o9AO7jzs9tlZMdxG1/Rj+KwaPnCZnTgdUUkvZOkG/cUZdki+aPjaQQdzFBDJoI4SF0Yd93BM4feKF53nKiqCRuNxjMxXaTmjVBBzKHu66cqFVMEmkTdXW3/4ACGc6ALkt1nrGy2KWn5jxooDus5Z7vluE2aytzDn5+X3ba18vovWTTz9vF60q1SBw5U1u0QlH34j/kmqltvh0q6f8W2yA13ZxCZQCaNDzFuyVbIX7mjsHGk5qodNSH/4jtjoPYrFOXLotqkiMm0KrXMjs/rJU+/9Hp4LJLouPDjWZU2/8AEa3r3zaJl0pvJrAuGepyGxu3n+bL1EF6AwCibb/2so9xNSiRpb64HtFkyBPJ0ewmvouBvWMdurLkz4zcFZK3UL/DmZx4ENGmEjO2qRAXYb26o8AJ0SA9IhcSjHlCpjpAq5+bn1+XSXoasiqDnHnDSBP/sgda8O1xEjCakBeXSzVMV6ygZZ81J28kNfCIoppkqB1Va7RG4Vq73jPamo9i762/oiBlojz0b55mkDkGcjOueoiFNTMSCb/cdkMDXHXULUwwKeGvojw4vuk/UZnN18MX1U8UevH7Yj78SfTxWzWvdsLFDa3oSp6Xn2vAFqcQfJB9VPq47VTP+HEv+MZqw0m/nz93knOFPR4qpC5+qEEeLbSrMWgrE0raSAGWKY8OHuenzzT8TbWlACk7kBDmlLpEavYx4+8cdDoQvZJvDZKB8MGLrXpQmF/w0T2Q1BJ2jZt/sX6FoGM67zOPpZys2IxC4K0c9dSEre7uu0q+dSwnfOqkia0J4sxun3DmH0UTlUkgjp0jnYgfNu5iPc0mFAje052qUmb9pdsS7WOlJsoBouhvEzyo/BuVgWPrlC5Uw1GsFwd4QHM1yo1jp36ypamWPhCjLAH5SqwApPYqEAM7OFF79jbhyZJN+/uAQBoAeztrNxLQWoNYB+Df7HyElXmhkz3gQrsyjEmArN101FH45pIWwWtG3tkm4Ij+2Qv+MpsJ2dpq9NGBLdrx8J9fRbpFbeuoWVqbctoj0OQuRPMrEujIVilQAw7JBBZ9uqe6RnlUx2bb82U/e2h0HM9MFR3DZshtKoFULU2X610ukIiMCd/QX+WXOKBcGK7gXlM9w9cGaEAOxBg8aXOZGN+sf3znubly19WIIf10bS8oEfA7Wc/Gb1+SxVHhnJhnLz3444ILlbGxlhkmv6spJu6KKpCiTROHCu67HbgUcp5No4jexAihXi9LZKtpFNuhZ34d8iZwHbgH/falvAiHbxm3M8/xhaUamXIm19FckYjAjIhLv0WGWoQV0sH5e1R8ZL2mJyYvuX84ZI0KPZI5/O6kACal+XrHsMXcKzeSNSbTUCfr9/gDvzatch4XQePsjVdM7c85VHdXS9dD5xsRBpcYxHFjpTVaA3rapLy0l7eSVQI+cJoiSrx0ZVLOrqbVUykpTFa4VHuJdZYMENRvis43p9hjdUwAq32kR9HS639/HowNXbNXLavUEfuDKCl7ZCFJuJRR4pA13kVHmnUB/0XYiFXCFKgC2D/IE0xyUsSddKBi4nZLiP7eLDGy+AKgoujfrFbnT5VcuF7ZRGzxMhyhDUQVvGare5Ejk0J87HgQyenAOfZKQkccABYxi8a1tDAPF1pXFqUQ21zV8xwjEqhHpRIUvkQTCxFp3oSScOXbHlb7RbPqq/HT6pKeZxtOpTVkUC9wvb0CbJrXImCJ0AF/7sjMXWYMk/q5LpC2hnQUjzQKsVsAB9WxrIR7x0LUWtB4YfR67rAO570ZfEay3XYU2hDZhk/+wPKLw+LdtJbANrtc6iq0kSVcTaFs0fxt3H/4pdxg/tMoXZOmRxzg4stursB5dnsyYzLuyc5kioGz9lkC1MigiMjssc1VEtiyozvz/AKLg9H3Fff75jGO4zpPtycwyoObrxu1FeVAUEtA6lfBp7Hu1uVJsUekjW/gXI7ruZHFCmHNy8qMrwarmV5Rf9rr8XVQ26GCtyvVEcv+1Iw/AkVjXg5pxwMH4S83RUeJgxZLP7J4VVBZP3KIPg8UGKxQZiKt8Lp+Xu9CoigSFKcPUrdI5W9G4Iq8BWxg55fY1eGinyL6/cTYvBRLCkOPs0JxKEdiANzjXauapFJzXxFVYt4oQ8O7JPsyp5LQYowwrTmmHiQxfIzp6Z3QDrekP4FXpuMEa1KiGuC0ZkevF49hwm/tP59o9C+spsSpLm50WER4bMb+TOP/lrJQ4ypm9gzldfjj/NwekxLpby6KCjRxt64GVHl0qxamqBsFBqsJpg7AQ6KevZNIUBZa6VITiMHC6DPpUvl0eX9F6OS3fyKxrf7W2rvV0b2pD6s5BTvbedcNnKxhn8JfaCxr9BNIbGEGqYYd6mf6cAax4tyuAXKq/ByCmBrCuJHll3tDeo6oe1WBDh1pJJvRHMmAH9rZqwaC60bQVLbBrn1VjtzH664R96Bm4oMgkuuJnhy/dgZUzdQflRRJbSykEuZdhw2aMliH/HVoK+R1HveN3ETe4BIIEqywZnvy1g5WvNa9YVgmeV3oCcm3XKXq7fXrd2HcWjrRLN2dLl3jCIG61gYK3dV0uBaVzi9zv3krukcWTHUO3q1gRmjRRjYyH5Ochra2qH0eELyJwLrrlrxnXOqIVaKOh6xGJoVBoFRis39HTVAndf4dv07N/Z4KmPiSV1K9+OnLRkv3G9dplM3tXQ0OS6QKvP4mRfl/ZzfC4zuuPH96MZcG1jAkTe707o8PVsN2BeS7ductU/rjmjwRszy/0bHSKA1wOMfco9Sc5FdfMpDvchA8h84TofBhbeGF78xrI3TQ1eG50yfwrJDM0yyGSdFQ+sLulXduUI8nd7HFskIdjfbHFAUERFkrV10QWByXJnPH7tGaWQhkEgxpb+8Tm154gO1pyS1odBJ/GKwVFSoGn/WKXB63Ms2L+u5HVuSrlS7wQnT4xYMr2U2BIwWsOqnuhmwQ5anOnJqR4gaUP1b/sq5LOaq/oYc+1v8vgsMckbgga1P3ed1casHIvNooU+coSnnsZMackvANupv0dOab5FJRaFgEUnamKYkyvDfJZk8gX7Rt6tRNi0h7US4aGwYUBOCPDP1YElbAL7ch0yxAdqBDffQG0obFxIzVY2C+Vo/phMO4ueX2wiKrTEZxXIkN9f8zns86G78toBOuoHnNzAwoAo/7CbyCuyPPAie4T2gCm1LldeNPZJTET84o6kt1BTs4DMudGJ/6hprbII5gJeJTwRyEoWUqB3a4Pz4iOx6duNPIcfpp/bbLwYNDydLB+P3nooRuy81FR5A9Q4b3okdhQ5ZVhiG9Eto1AhKJjlZO85+Q3sCz78tYoiOuC4zEuaYIKLjfHITWzPNkmk5fJ5+29kuvtTyTvsArxi2tLQDpk0oGJQxqpRKsMTb9p3MjBbVUUGJBzZWC2Nfz+/Wh8KF1WuX1P+k+DFvyjI7PQfAY7l8SN/sHAuFHL6eosh9E0SPEGTgZpSVqBVD91/RhH1nvoX4M3i44soDtN1f5qObQXXJIKhzT68Ug4+Avv6y4weYtl+Jl5CiVVMWiG3RfROAg3n/Cf4dt7/80O42ngFecWOyGegQ32F/1RmEXEPIfxS3nUotsAq2nvoPX1glQQ1jtxIQId9PV4aBYw28PKgU8//ZjNmodqdiLtS2LKQ4Dvb/pZ0fiyCc2286UBj82E2rUvYx2WP7QdBMpcOuYIBZKcN++g3Ipjz3GvjfIHE6h1/iQu5uVKvA/mu4FUz+EpqSt3KLCbOq5Kd87Kww8JfHIFJ5sPuzBKveYuYWCFVtAnNtB2CFHJ7P5l12jlzzH+d/GxjTKz78R/8TCs4/Qr7TSy3IxBe6EUSsA7s0Ipd9Uib7bq2axTXWW3Dqj5dgzyrQEUc3XXOm8qCjXnNopjqQxHFpf9AYyV27THLkyYoKp4C76hW3bK+2GyShsxDL96PywEFQ6J5r9PQmDcPfOxl1VESoaW3vg+g7+Oy7krUxv6rrIw4prha0mCFN041pid7vET9VFpEoeE3345zq5Yz1PWAjM7vugdhofj9s9cS1ht5petP2Bf41uGmjPYYfMKUfL+3nlhflpqQEVOujORENEaUa7uSgup90Xprh/KecIlCaRjcF12xR5xtYcV2Do5pPS5PInx51Sa50Sqg874iioZYS2zmj6m14wwJdaQ9slJG75POeT2cyC2AvqyXcZ9GLE797JqRJDjJEMNlrbVFomVr3dM2Jtx3LcUwjVw4nWKecdyJSY/rwTrie7NhxkCvvEcZvW+hjfhbG79CFfO6DLyaZip4aqfBorsxNBY0HaoBUan62mqJ8rSNObcx6us1mlIY8ZJjXfSRwJvRZUd68vOI/oQQ1FAbM/bvLj6PwxTzmj3KhETwGKMtKMw2MG6T+kNyT0kD/9vzBhyOc6MUBftfKw7Cwk/eAd5IPSDTdVSCw75XDEksJm/2cQ8QIGHebq0bmshKiaZ+mH+vbAoJbmNXF33EQsWnm47Qwc+LldXBcT9054clDXWEhs+7K7C/Oxu2XCZm8NmLhfR1SrSJ7pUZu3Gmt5eWvXCD0m6dKM8RfgEdOg6wJsrPSL5P0//Ko3I4IED8w6E0cX5UaNJeC/uxt87kP1wFsgqND+967jt0ZsNCRPBV5xQ/se801o6ZP0EbHZrUfcLozjaIrW2UmLh7BySNiZXDXspmadgv6f+uaaSSbAVDHA/GW6z2sj8Zw2awaTzhEmj3iiC2p8AAy3n6qaOzSaIyAg8KvtRdLy/wDNW2nNjjKFtToikhOJqxk+D4Hnyz2T0OoPbtqPhoar/BVDepAsU27kcvhrtN1xMC8LZuD7JoWTJDUwfkXyaCQuIda1/GF0bW3lvBPEv1ZOcwJ7PNHZf2BSlnJUnfnJBcOiG72ydyz1hMzVfriXQnhmUJTB94LlZAKLduybY4dIcRyYTS+x+D2/PRmmy4Jp0WlTlJqauITNlyrvf2EmRTgb7itTdGN8qzDjhn0fJzeu6lZOjIa79PrpdWIQUEcOqLP2G7Tff7dQxVwxjA7cmcavPRdoGxb4dXzqQeGYvG0CGOp92RTDROMkJhJIIPmAxuhsWzKvrc5zqOlYaOt2LQbDScmA/fXdLEl7PdauELQQJaJNkBRnUCvaAmEal81OC5Fi7bjcJE9Sb+P++cNr2hDAYP3dRpF+FrXVznU3fFZYXRYAozM6yzwLDtzzEBYVs6KDR+9eaZOnl4Dj/ueP685mQqXxbaHJ1i+pLrTnpBjThOOcBUrNI/LRHPXrUfVgADfhSdlGJBvdcgkazILehR8bM/vXBzS2BYVl74W4iJWrXDdwrNrLidtN+XZBGOPLPr1yDhwgnTTw/WDehzuDs4IsJfbkw9rLBv7LpYECbU8Zd51v7SfbuYwIUuOSlkUcZBLplN+Po3TJ/swxL0k01f3Pm64ezDH+P+6sWhD7LXdQKmWUbYcdQkpOk/VPZaKP3ngLXoB3+5eIhd5obH3tEkV66vRGen46TeZO9ZewPZ2Fmz3crsbTJ/6wqACwaUKfYpEy5vBU1vTe9osVIIXGL2STckKZPcfQj80xmaDCeAfmRpTTUACdwnqa5lmzV8BdeoGFpB9Y5d5gAfuNftjKRM/AWm1fFDZyu/cX+2p7d+EFdsQnIIb8/yZSEg9VmthWR5VWgcqQcfhtXT4WenTDrU82hxxS6SolR+VakHTGuTpv+fupRLuH82w61HRb7mDdgamWsc/U0jd8ODNK/taFZKYhfm4vfMbJL/BpHN8iiphNq0ogkAyFeoooiu0ciR5T81PJEHy/mgP1iC8qdigRW//giFkQD91pBHvWF+AexjJb6qKk6cHOFCwrsmN1qNEKs/34gdoFDQF6ukShpXxZkUrQBRr5l8vq1BKuMzxmpx6xGSswZoYaDaShuJ4oWbez9zbkLcLNeI7VJ+v1rNE7lQysUz3Y0L6+sTxzXIos1vj8PF4+VStFaZcT1j7GH0SdFteTGeSi/cDqOK5KSv2Q26k3nxkqZB+0/N0xmAEWEmLa+EQq/OmtHVkhnhNkqA9ik5VH5RYr44VLrz/BlfCH5ZM094mpPJ2z++WrEkCdMxOBDHx09qoLSC+th0NB1K1gwqAfB4RJ9ITcYuf5jPk2vGpSihfZqZ5ell53+Td4W/tXvPkkWjD1y8xkwjpeyM2yBjovWKnBl5CxrsNHAD8ukjiH4UOZj4HQ0PicP2IaSlQ3JyUo82RTteAJNk599r6tTaIUU0u5iOjUa+bqys4jeuUcNSK+BK1Im/DF9Hjv62mKqPfyutD4HP+fouO5/WmRWM8aQv3Acr+oGcQenItoSV9C49H0ezUUXoSKyQmGxAoQY7EnjekqkY2MJIDdAuT7X4COTExuXLi7X1DWOq1mP2uaK1ez/TZuio219fSyPr1s03tZ4wsBRegRl3iwQ9FPBI+ClgLm2Gnh50YsmfIw+b6eS/MzxXedngApspUo5kKgGFFd0VGauzJmjBqc2iQzMIbcZnI87I17Ew7lSfnuw3W1SqEBbIU4KhKHasBJO0Av2I2QcRo1k4WjNBtINLifvHbM3nHgNLnhui9bAZqENzk8ls0Gi902hDaTEFhTYONcWH+/ZkVH+Rpc48nbydMi2jpInLM8xA7YqVkGbTt7znnQm/NQd3u2mfoc1MvMT1E1jyia9AvdT7i+DNaaT6WdVohZywfJ11vHPfn1xrZ4AVrLH8OTFZHopzfWuQ04t4Hc+kY52r+EAXGyUO9OxeKDD/rWn6BZBjkFTYl2rFU8IHIw7iw/XOTT0vYuzc4bfRiOpV9oYZHrDEUmDKLiOaat/ZF/iqWZfVjCrqEdprWmzAFm9nwGEjVwXXb0sx3iCRxfqvjszl6EyfDPBvfFb6fCps4WRAeRW7hzXELESiY4AHn31d7xPL+VOGlHaFJ8W8lVx4Bsm7rpSYFYOXG+EPu9w+mmn6qW2IruJNm+Kjz4SLMHYoGyMPBFcJ7U28bYOSNpIqBXniaZErIFr31wgHmB5RkJB9vwTT4AzsxVyswrl7QIEpOZe/TXT4Q3oQBwRFULuZQGzSKbmde8gle08s0fIB00ncGQCA/nXYVQWzDl1+/tjJ/JUk3a427+fOoHAMyyVPrUym3nAD6xYc7PbWcTNpg5rZ9f9IQyqfdPwrJROnNTVsGMpY0oeGO1Ysfpexx4jNKC2oQTAbvQ5Jq2d4sNtqUa6XBAXZHScD9D72ZA2C+bVCV4iYouxnf+Yv0sgYlrXHf9v8CoUce+XhNNrvE0vAaorqkWTgPYANJmBD2NV/T6M4LNpAmajB7crrjxWLgy8NQ21K3SyszGivvBz6tmbXV/b2fXuCuk/vKyuY9k+v3KXo8DDx1WP0z6nzEibfoa1Nch+hXCZd5QCiniUeuOlNhedGfBxBO00ud2RYlvUzwqOV19CDa9R5yJfKG+oXW8Tw05rxNhsFegkBcsc2QFtftfzqhiFbKozwVOlaiM/X7+vnT2OqYVM+qWYCllpgcJN94t/HRKMJqxCqmDa0SVK3j/AHwcsVFAjVIWJ/veNapLET6TnTRGZy2WPSTzrIj1pYaSGXTNr3AR3P/LGB3a0DB1t8LEirwHek/Pa6xDe0OWFSIk5sQ+TiS6HXCqi3lgsNxtvPdcfmDqHizH40JIWwaCW6MAFguMuu+01uSDGkrTJnR6wWKH7O3lnWnmprMMaIyPC0XKtp7CrJSzY+tkF02pcMA4QmJbd9Mx8X3gyg6YiWpzRDkh9klaSrBK83rfFZmB9l6OlrcEN5q/dhj5vnS1bYtJt7u6lAH/QtFdrN4KWE61reI1jX63bjT3hTJvbCQ4Yq4uw+Y6sj9DXR8fcPg0fHwpjouwgpn9bOf2brfD2eqrcwiiBvd1BnZiwSPQvmHoDiI3PoSivZnUDOjX4p266X8+HZYFKt52rbu2iw+BDaKq/1h3cgtByqDzeQRQ8fPlNFV1kkEMY1QPbJmaRJr7pGLD9bJpn4wZ7Dwh9IRG7SHhuJo5NpAvJzeWkOmKH+8RewjVHvrmc5WDnaNSnTL1X2Df+r6Eq1SU/5Q2BIJylkk3egvCsvM2KU98uFdlZMyTX8pGPyWi/W79mYRFtzmQ/0k00tIXV25QgT0B4f6k5jfJSaLn9UCm9nCi1ZPq4ygrQUFdAwtRCmgb7O5t9mQvGV7y4PYMFWmc03kpULxgdAJY6Qo7mas+HW9QRNjqHd8Rx7HRjBOie4EoBOGMJ5RSjtmBTtin17XJm+E92J1JL3MP7eU5S7YFQS3dicTCjyO1FonaGreZ2NuNlyH8lfCE/zAFzLdkuWFwsQhcKBqMNqBEJur56m/zQqQtYLKQEVP86al3e5C0UNHYm2gqmc5uFExG3t4EHjgaz/9Dzcc6dv/MjFacbyEaYcaYeLNu/v8m5JrOMEuKCbLwhwpaDXETQEA1IkicVbFdIRKEzyqbVA3otB6dl3OqIih9KUnVQwrrAxOdKAWXfweNjsh6+C+Br+ZOyiz8FiTJylbFEPsq8Op8QRffjMo0StKEQ03ES7S/M0F38AoINmRurcTwgAEowHB8/YwrxgLaadD7uAegphHoLgL0An+42+SJDJ+Et2EtOo064SfrHPhb8s5b221HFqiG+dgGjksnClYgrFzaXtUcSU24UA27Cw2ggmC57csQMzf/fgl3eOEZwLT+yxHTa1wQ9+j3FsNcHsvU0M2MbDXLJdbUAHKgtSg8zlNcnwSu8CFHqIUp7TMZh2cD4sB/QnWrDq4vVhIv0a/ZBFBzqTLR7V9e3BTWJikro8WErdeYm0ZLUw+3Jkraq4/XqFRv2/sXBrQUctuak+Pbe8s2Ga6A9UghJ/FjqnZ5NtjnccxCs+gxh7SRtaOuYtV1p//zJVOMgJqqZQc6ZQT27umMC9I6U/Sm8BfZe/AHy5fsUiS0iUWuFmzTkqOy2f7XXLrXzyygOpIleUXVGAdgM5rc7NRw4nPW2RV7+sptCrSKuhXPk+sDnPxkor6nyVjZEpvJkhR4hkFl+mkJaOlpcQ7Zpsa7aK8Y5tMSEqlzonptvcXQP4xTjHF2ELRg+yDPPVgKDb5Acjkvg9YI1T85hmJ1+2JcLYqlNt/Ce0sADHr9vAhI2nWszN6sZ1hGyS2Sa2Axz5He2rtqmFd7111OxUYaw44+4H7h7MDLnpo78Pe5R55H9qJbKX2KnzpaqoQ53PbR33+FX3W5piIB30LU8hOQRRK78JH5q1wLCgYIqGmOVDU1f1w7aCEodZs9kPGpbh+jvDPdoiuTiXA8E9BzPWFC+CMA8JHakk/v5lEcRlPNTtnsLJ0XlwiFxwN3m4F2a6ZgOa5L5og3OGtVKYdezvX7rkk2b34IWJ9CLatuZnd9b4RG1IaCKTjQ7gwf78DCFdzsGEbgxhaV17EsUsr3/4HDkur3LVfIPTVi3N8umw6PqWgTcJrF3bapV89DMwwbH3WXptpOYG3ZTQi98JpwvzifwIdthqvXGh7Z+721p0viXS+OkIcDA4hpmIAGj5T31F/o62RJkPW6f5aPWJg2Vn4LTGprKKQwRFkD2FWoRA6fpgbENxsaA9bJ6NN1JiVAe/my+zZ6cPNOG8gFv4oPK/iMSOy0ysKOsldySWuJVcQyEeIeBhaIfQhY5G5Z2P5FNBgqQRpZgQRhbwQM1ebBcGw3eF8NjK+GgMr7O7qslPgLIKHx4Q7nCR3brh7gla6vcQ1YT3DWfnR0IHzfGOYNSEX/YAVBgGqA2Q3lJXJ7+WMfo29EKmn6gyw7ff3uA4KhOISfcI1x3gQAt84Pq2TB3JBrRk58myv4CKIr23sRsh1okopjEn6FrwO1piSv2UVTCLErhbfzURNWQRxzJH0+hbFT7XS7YTqjZTIybt8NYszX/Ace7jcg91/+dYkhHbo0eQbNrfmG0/eKkxVxFjUXA/X9z6xsavghghZ34cZ4EfXULw3IriG4fSQCzWd+9EkGASQFhLmKh3HfBVsyW6NlaV1mc8W9jDk8KM/B83qr04Jh+m7ckOqv/WEVEJjhGudO4Uz/YYEbTgCrbvZu98OLGbThm9yVE5R4dver5urrdsubTRVXLRM1gTW4gH87SWphU/IaUegyjJljeMjiKbfkKUSZhj/WEkzD+0a5FI29kXnNF81HTVuTKgcv7qEx8K7J3gZpvvLzFV4d5qGiGlNMkYlVgcUTGcT8aBC38Ngix3KShWB6yyzt0+C6Fvdmdwc2lqFw80zNf+0rF7rc9uRSQ1hvGme3Lvbg3sXOikQftOjEXUe7oat3Y+r0JoVkGy8q8Y/0Q5C8e1Q79l2lIlxkMMgHzioOGqRVf2czPEkM+Hee9mDXAl0a0kTI/MRWn85kcJ9bkDjCoXzW4si55k899qqcyO6F20qN+CJ6+DxnXmN3pRmNWHC/BpI5jBeuXYcEER0w33XHNuicepbhTWssMBa+LgynOxtFpM4NArnppvF8dLfJbpIwb4UzA9vVhhdI5+9Ceig/bmfBz+pcf4T08obI+mcOvSVNFBxVkrgdFEel6eSHv1su3Yo+PwWacjqW0s1/EAEQX4boF4cLghiWCvYpiG1VhcdIrJpM/1AlrGqL/OwphPgZauBYp6XB4M/CZpRC5gPst5oEHULxDsLFP9GczpuzYHY3wxlOnul+II8zTv2HFtqs58G1ESv+ikNO/2U8v2+DBVIvgle99HAcTyIOtDbMYMjPr3cFQilmh3J2PshqiGQDYWMLq1ao4KcxzyokSuMjlJ14SLROaGSQQQ3ZCJcq/dnvFQtW0gfOCVJ/H7N6LlAVe4jUJYJ76ohBRU291cjKuxxuOXK1FP7CeCSuCgy/Vrxl8QmPrafqkg0SKBTEIQnC0R25pK0dxgTbKBg5nLtvWJnjNaO3hcoMWfHVtdRIiI/wpSVelQ170LdJV/gmMGQcMX4zWQnglkRbQH9eceMpq0LPBVuteBrqLNkOCQMkvR3qtlEzU/jwpoe0ht5G0mmY9sb4XrTxaa7xcf11//hGEUmDK8GUBFDhqoi/z7iRk6bZtH8FYAYU6YmQ6ZySUEpsnYY0YHG385d+0TyezdZJOU+OZQclYKhoSVbOtgFl82e6v8GRuWQeSIFuiop3kCA2bCpYVmbfs41m/wQESrUz6UWmTawLdxu/5I2/jJUrua33PYzyu+9sJx4Wfs44kqFBwaANJkx2sJDdV+EZ+qeENs5mn/n7yXRaU4xx/KHVaELnsbDGEkTQa4l+x1H3ecySb+c3FnIqNqfofNvCvQ5AyeceuFr6iZE1Y1FwEZ61+dsS1A8sfKo45KUty1ZBGbz8xnwke2HJyJI6f/f5hq3ZEMfPnBmZFfZaMRaJziupWT8kvHGvGyNVg8Og0ZVmoLnqt5+iw020bB+J7rLBAooXWSr1/oUGViL6t2Gcba1PaGCRQqqrb9TSGQ3J4kx8BYRUvE7yI5ORLSAETNCivrtUHxPYFBLrJo8fFB3zDcxvoLYydoKUfEHr0/CK9HU1l3BTCO0NRF1+kakq5zAVtQnNbJH0AFEW6iHBcUPF30FIJXLmkVADE1YK5kNDYLU9WogkxTQc6dFlM49NH270vMlP47TwXCIj6feqNUpPu1C9SNboUpNgzAaXT88nbHccJJidpA39041JFTZaDNUiD7GR8m04UeVggWbkrOjKOhvEQMXlyUNecEu5BLR7ktG4EN8RH0DvUYxzY76mZmuOsVIbVfC7qXCvKtwQoQxHs5V9/meUz7LQ66vCUT4+dB489pPOqGg11YlTAvg0aHYmWShF6FkTzN089N2eGr9N7cwKqvVRwNpHr6qflepyzx3MuMbiYPWP/EvcUrIBZX7kADnrlEDCmhejb4Xo9Hn3hFsjYNwZxR0z0gnhReQ2G5yYJ7R4VVDCk43AKjbaqfd11EWe4ZCv/pqEqQvgnQPUOaTsME90ifed81UKkKKZGqX4F9f4ATvg+cS92Ol0p6YJ8HlRliaai7jeMQhRDtP7snwUzFS+98Ok1K7lIpSOZYMGGJT8FCQH6ANZXSXPX97zO+o6DhwQjDWVpKqaurGgVEd79tKj78AdBwIFQUAIiEkHhNM678N+aYCcyxBj13Vr6dImh59+gEOj5V5L2HUH/hnJkqv6t83PrWO6izZHKFEX9/gfabfNNtRq34g9OTmn/hA/L1RqUgAf8FjQi2BKc44NGxgscPW5SgW+62Y/GB0P6O+c9qiGWEzZtx3WWw0CnfEmNQt7dDyBxMJvXMIdDV3ztFdHR/ZN0kigu/JVNngcJ+l5eupXK37uRHk73IvHaJ2OABIreliPqvyxkxe9NmDrUcZwAM8ab/WKXm+BJF4spgAfnK5/PsWYISVm+KqAcLwb2a1BcgkDv7N3Jj2P8ccUNdHnFnh7nYUr7mlQETEhBg65gmXd3bXBj+8/Kf0uBgiWqD6sHLf7hhKl3RIVY2X9vWl469AP/AF0c3vXIlYHcEccBpFway/qp0j6T3UIUM2kV/+IhsgM72Qm44PLkxRbpfm9tuveCSTJMXf8R5TPB7wvgEdFrSuNoiu0nb2uQ3fDorznjXmieEmiuFcCTx+BeGBi0Iy3QGe7WuZXHe2aiP4diOsp/ZWvdVJ+Vfu5Ic/Bo5Qoo98OezaX84yf1IjxaWaoondwwRe43vDeGovSLH8eILQko3QHPByIaLXbyjN6ixS+LQKf3g09Knk3JMbsQEZmmizI6FK/wAduP6/atWFDJgF8Xi+RGZdBVnUfZTF+zj0pRUiACJn/5MQmgPS4yX6tqGDe1BiCI2eGvRAJw1+q2WXK1myVWRT52qbe42L6ddN+hd3xvmAWlIPcNLXx9mtojckbu1nPSuBcYRPuucMCo7j0W0976r4I3+kocmCRawWebasoOS9RVFai6dqpputgFBqk7U31N7Qb1T3Y8r62wO66qkXNhiAZ622H/ODYWBadB74FyjJUn9YI3zBThDZGrhXIfSIGQcl7LqqQko4BKDrnEwoeuaN1hERb6IbjztaHfhjPFHngFf9uIaB83xCHGVgwT+wDB92ZzVT+oAn5WJVfQ/LdYADC0Ukb6siCyQeNajVwvbIwJEdZGjz1O9zIz6mttbQ6HhgRA8ffMtPwfupC03rn9VyR5O7atjYxwuS56zXtVG3oTKv91Fbn0IE/lk25LFrZBIhJGisvS4q0b3X3AhyM821+XRkUr92k40GlQWWPVFI/1HZCpMml/8OXyc7M9jUeApnpqiWJXVRQ7N2R70meTD+P+8JGFhabB/KumJZMjU9qmxC0ZcBKkJODA2MP5hGWpD2jYFtEt3snXiVkFGK6jPrmENMUfZ3ujDMIfH9rORXXBq5Bycc3PqBbkUetdcHwMeDmvkZdXFgnte6MQD+awzy0q0MGTgp/pGcqfybJ55llWj+b96vniDe0h1vhmrLV8Ad7EoKp/K1JAJ+ATCvRyJGajT7QANyU/fIYKi+dv5jswbx+9S9LI0zZM0uaxI3y45SFGBoIMm9sNDQ7BF3gK2V5Vc/NUmiHUYoh1aRgUD8g6yAIpR17ZA6Q4YXVqH1xcwyzq+tnbXulGxXjG9FBMv1oDOIx7AhvMFyhTi46SSqCUrI1nGOuZmw/viqXoO8GrH4eNQRzopJ75cdfzRGF3eo7qkRlNe5Fnt2mrPhqmIzGf4NJiI6UY48N9elmTZYJYqMkBQkXHc9mMG2EVY43b1QzqsyoPRH9A5RO4NUwegB9ljVzAKv4Kt7TZM77cbs2aj0f5U9etXC6HqBEz1TXiqFf55x0wlMa7Kwy8RJq04DZeLNz1/aHQVdzyjmp7gIWa4/7H1IykSgxiQKqmXIG69j5ohw0KkQ/tRetgOP/iPXNKxKpDloxVCJo+wewK4fL+TprAHx34XKVhPxIHSDPr2oilSHfreeV5+ZlSGHzU2HnfOT08sO4y0LZVFJSk4otndV2kaKmgk7ZWcXFHzJFgeeHpGjfcEtxspDvZLGr8XoYoumfGgYCX3loboCsJF5I+a3mXh1f8UKUodhcURxHoZILEAZh6MTq2M1WHFw+sOfaKVYe7k0jNhuw3ChlGOz8RTXj7sHyzQz9EOkrylPn5gmoUwzQ8Vas7QJ8X1XZKtGILuEQaCQPsQvW4bqR/ED4iL9h1h4qs041gcfQZHEUSYuGi7bElTgwqDelYL/koKH7Xv1/9ELisKZy6weuIfadoerbQfnyKYSbywfebvCem5JbZStbZj0NPbI2FIMvONBCICCfeBeGFf8rNq/QRl2m4fB/F8HY+9tonx3I1s2ZP39aMlMaaFGEa9iINWUt92xiWJ4oYb+IwIOZkZ5SL4nkTfvpWlb0MUP5S6mFrTAyDWYEzaUoJJuInLemLfprvjRj8ZmtDEyOCZtLpdZqdGgRSICzGjGpaW8GBRAt2oA0ZG2ru3egmneSDCg/OIiejdjeBdG0ByAm7ZeKmCWy8MdKxrlkemdvl75Co1MypcZqzs0Ezw8FjoWh5r0sYHJ6rEUk+yoIAToW/sAJtKnu5Va/+qhT7czgq9Rhl2HAmkE/AMICzTkvYnxNlvIItG1EQfvJhbZw8oI5me8zUGfCgARqKDYk4crjdTDTO8Vzc/Nv7NHxfjf/aGStYcfwL57aKFSPA/OVc+q9uV1/EvmDx02ZRmAv6LlykQUGS8zFoUQzMSmIkBUlVHvIKBgfpWUG2UNHl/6thY9YYTPZwbKYGzL4YcsTBz6a7KSA7LOs54QSNTPH4+0hO+qfzq6sMGsb4/A5gbPS85WCVuCA9LSs/rGYUIy0lxRFMLi1xYnyG5R/hZJRcQIbs7vw9WgDRMdJ17eIkB70/Th2OarjxCwG5CeNTgSml5TK61/jgnxCF+/e8xHO9uSsCkYIms1XryFkjF43OR3oN+46WWvhAoGhZFS/S2xVWmxf52yxNEhjuOa+4imPmUvjloNcUWTE1vHGYYx4oQDw3j3TmohbO193fl7s0faojCO28xudM/Ws0GU78k8ZI/JcMgazRBEOHxg0xYiu86BYmU6isb5B2OaJy1mGUGWLRHX/FLxyrlCsv2Ha4p4AGX1o5jHMnqmzwMPw/D4EBZfLQiX2+QC7Qa9qs7QLI8yaB6UQsw1jz20qwaqtJ3dezIktU9HgkCDjElsCZWxk6SFL6gdrvK2cxS641K9LQ1dWmYcvqWzT6Lfs2k2zqBDTndU4Mp/4HTWgXxHCSrA/7RxRONjGyzj2/kALP1gKhsijw4IjzoDYSY0cQMyJoavMr5SGZCJAOb2X+WsuaZQ5TCC4BTAKR1ENutu3gycNbnJYuP90wiUcDQqcz+Sl2/A0uIHBrBWR4HVlR8dWVPGurGFwFgCG5NLv9e0xndkPh6+raEDCenxTfMRuNMl020aJZKUD7l3Qa/g2JGRwYhvOrk/OvXYCTdcWhSlN+mx5ywGyrl8SZkPmUbIPecJv1asTapDCOLm4/6zE7DNVX8De4YUrGZEAXWZ8+KjBTpJEV8qdoNRCCzACPD2t2Teii44AZ+xmirejQ6ae8MA27Iq5jqF3VbrMgriQRpwxmaw5a1/mFZrRndn+GiT2Xrx4jfpjs2tgbBBFJcEm1pg3Jp4T/2Iidrk3JXGoCqWb1DbaSuhiJAZ1BqBMjTCGIg+sQaWPiAVEb6k03JKzkFef4leuP5rRP6yUGDEByeIxuomafotGbwlpwxVcr3n2DTjuR/+Bj62ndk1SQzq3PKy/MZmhV7ahUNhdtUl7sklyNFv3nM3fO7qRygM6B6Q2Vwfp21PxiKHRDoDrfNi0cK7eGo+/C7va89cLUyqaVmHsc+Y5hQ6M7Nm2KbghYxi/e4povjoQ4k7DHIpCfjLHtbcZzM0s7nZ9lmM0ZhHxPndc5UEjfewvOqg1MIaQotUYNviYdjPOQSI2wSxDG7EPKVD0duHlwb1ckGD8hzjYgxw/BDEOdvHcTlE0Km+k98+2oBgaEI7Pa0aQKQZe0G6CEgFpJty+oYQTOkKUlpCNC2KSmwfSVqEZj7go4PDuwoVexwj6fOCakeDgMsdjIrbiWAGCwxGEJoY2zBzW169gvTY1fhO5xyatzwPlVpH0UJ1wH/HnIItfT074A3vo2fO6AD4jGWagEdnRxK5k5Q1cWjQKw2m83r1RdBPRePgBI1Fj/aeYnROBqCtRQa822HQ/BzlT2uCgTk3jYO6SazFmRvIVKWdQa6spsYMjTvg2jxhQe8GL5+cglaw6+r6wz/QMjfodc117Vj5C8cV/Y3xqVeQWgkafeCkxjo/f1F2GBNAE2tJPEHNpvSiPgSqRZ77kZkqksUhCwD8U1lXByDfE2jtGRHu2ZPMkxUVNyHmggbAnMXai91AkANhtDA6XS2V24v/sBG5mo/VXuvK1HAY14GepasKtkAcW5bNlO0xMpFSSuzutKtfmGEi00hcYqhtEu9sXuQLQ3tUPDxCHEjcGj2tC3sZObTjdQANaxUaNE8wxRWufARbBeBpgsl0+h4yo7VjlecJ30L47sLL/k4d9SnIAY2lXKqXwaRo3B8MKeBcLfZpo1Y7b5Jy8zlAq8uLV1WTUglNIdu7bBjQubotrNXZUzyqC1yxEB3BS+6jLFJoxkY/gSMGC1K0hCOExVdGOSyAshJ4M8scpk/IWcugf7ybrm31s35EEyvhV/m4FGLf3hW85svfLhiyIfh2oU4IiLxL2LtKMZA6Lx6/x+K/ZpBrKidZbxHMHRsXvpLsjSYydM2vMGlc5+YpBNlLWD17FBp6oQbKcKsCzelmqVWpS4OZMQ8KMxbtW3A0m5D/Ey1qgvEBVGHsd4NYYqoWpf9uwKeMTTfV73L7L6op4qvd787KoNQA6A4iD0UUSD878SlTM3zZRQprCGsyjK/8xTpu2ElgQyBkRI5rzEL3LA2rZ5U8sOusEDf43PLQHUU9c6xjVGE0GSSXsLQ0sxtxaMdTReiRh5lSkN9EJX544R6JoV55Y1+zuNGg+02JuZVCf/EQS75UFR7KCy56Lg6Rr9k41RX5JQuXXx/zjZ9i+6BBKDrPibe2mH4Sze1S3OQatJbp8oUuEWMUV5plv+V+zUW9zqIqeNMOZcSI1bmMBd1/48XAJRA5tsn1DB3QcPhqTo26RzIR+OMkk+OUMMFmAGtcb0dRixxHZqanBcED5kk8unny+k0qSdaAEaZ1VuOUsCH8zg1mSx9Ho3YajUYpMRc/nDxqsuyhzCYuCbnlQDErQhallGNknuSQdpHckXuqyqzW/hYI7Mh3w6fNku4FseYbOiIw+952qh305RdduSKpyJ44x2yTXGuRITieUxETBN7eCyduMXlQ9xPmIOBaYpOpH07nups6uR4txZ3TUapu8vaAFQ0W5lNLR+q4neMmmwgtrCr22UCio2GdBBwq55G9wtfa+epgppuy7iK6ALhVPsgAhh+J/uRCbiBSPTo4kz414qyDWRPyF7rJ8v8qV9jW3B7fU1MrGrHoMTRng0488+Na6/q0Lcw4AZ1cvRgu4f/4aAIkpf/PtNeVmX+IXRBrsIRdJ0xI1hoZ8IP+kBFvCt/BD333rsay2DAaZUWGqFghiIhsRVvvStPoKBRpH1xx9irJFPhq8/yCns+BUT1ptllsoi53JbJ2yegSGPoB0R0Tpk1H4+M730j4I2gtZJr0sqcRZP39R+UOGXUre5HnLTiZt6oXYP/YQYXVEPM3Q1iAfsUhHEXHSJBEb7HJl1DisUa/8BmmcbuIKAdr5g6K1B3iZdFI85jVeBj5p9QhiHNkkXRWEUfCsUuJ4e/tlNwfIc3V0joqVsEXZLBaU0VoLIG9ikhOWJRayODY4jOI0388WZ1aFtwZ9xZ1PiuXisH+r3SaW10+36GHfa7Re+E1ebvesloq1R9vDAX/+1lg3PgRN6mm2mrn3Qx28r/Eac+q/7ygY0uzJlwnK8FnGglpisMi3uKZQ4ZEc9yK6hXgtmLKsUrHSZ0njicwxQzo73BjQiDsNq5a8RYer9gkbycDv9xAUJkPs10SHka0hnh3ZzUPwSem01L+kNH3pi39bThjld0/vs2Z+pJFUFAE/oX3HvOCaREAYV5W+RIKRMe+AADIJormuWDK24RSEqSk8bhZgk7T1EhIQjiwFqNNM/73epc6V3/fKdy9eLDdxowKrq/slH6SkHU10wDHAnL9phTK44EAURmgzetz7NuvH82b+3GnSbITu9QGUaSkf8y4kVO7vFw22gVDlrZ4ViJcqbK9a4g1v9pz1MmfyiXxxmrBVW/E82PFxYDZ0PYmgX/kn5ZIKQ3VvtNKGaScaJqHbRt0lhfeVHlBzZTgiW5wmhvKU4izEnBdXFWWJOdWb5TFWsxT/8zNXsoiWEbecw8lCCm8kO6b7OegD5fMjrXlhMWSXKlO98jNh3EobUjMwDSgLrs6H3uev4tugnvSz2qRhYL6HYnbqXrfi5tv2zCN9cAcTZ7PrV0CTCRgvebcQr9ByubYm7wzACDvmfaisRJYJjJrCfeUX04Nc5mA+VzZseTJZGMUFB+4EQNc2DE49QLTOLE5CHbYeyb6IxFlkzdQ0cb/yjXf0GvEUSHrNXu45XTCEtG4k+ALv8UxyNHwZq3ss4ABxpEE3vFEBN7yxl9yofqkBkgGtMtzYI7rPRUP763D2ActLKiygU2HIOCzN5m9SEq1dFtQN9R0AFbB10b/29iM0LuwjefOVRE6xybUs9yaF1uxBeyzzJeRLcDFLfLKbmIEEMm00vhUQkSRkNX1E4jEX/TpUHA2Ze1Zhkll/LWUP5eK+hDN75gtGjA3oQcUcDyw61wnm46eXHAURNiEL7P+15P7UzGPyfDiKk/WEQeV64PYFrMHROa3NiyUuM6i9ZrVeQFIj6UhHVWFRPtuSnjO7GWo6hmQJW8nvMmk/lDPLEUdTLxtSe0BR+YPpt5uu8QDqw8jwIjv8LqhQfJqOXn5MV3uHlOyI4cKzYwYAKz5GtSDKNY5+6gVGx/EQYr9/MtT5oat0lfB+GG3ZdNoN2ryzWe6dtNYN76Oh2H5KgcoJA/QsdTOgrsB2zty8TlmiQ4AtrgQk7UynmF30ibb5GbPTFZwm8eRI6qmAIWCZiXJaHhuFIgsrLbAPYZsrtogyG1EeDlG2dtzIE+iolVPYoyQ9XGgyVXrRVFQ96qDmXsXDrxp6K1G5yUmO809X1astMhOkTasAb6pgQsrdxS3bHuGGQ8NpC2qNuuwezfpcMb9qM3MrrFLo7dkKgePg8gQlHxkf2k15zQ58iWr5mvHj8X3K5xgkTVDbfRkKUt47Lld77lIE56W1gPe0y3szJSwJL3SMZposVa+NW97WlgIV/4juNUBDfuUTSXnlesKY9Gco3iGQ+En1S49n9vCL0Bbpm4TGvSjdmIY6EsOV3ZT6yzGRj3/aRmKTPRbKLdujqjUpFSBn+FPMEtYDqBwqo0QCC9roWi0mujNKD8p67Hc0N9LimwGakL3UsedNiZjTzRG0gWYMd6TQ7VQit3iIdLbj9H58gMCikWtWX3NDA6INN31bJLI1Ig46k1qglz72X63G6RgKMlZzU773vLgyJOskAfK18ro7bLCAh3bz0GyT4RQwjIKWsEF52sIA0QLQwOh8/li18iuse3TSh8=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cid7dQ+Kub8ulUpaRu+ZvkeQKYThSehVAux+2Z6ekEhlACpPBIDl4idFwS+LkSsnGMah1oiS2Cey6I95pkYD4uyMV++L5qaS6HjHU4AZ6+9wui4UzNplpY0bvJrs714EuhcgDYgGzGqj9yajVbcwBs7UeFO/5Uyh1UpcBC3Ws7GIJYePdtgVyaWeVu9GtAZCZX5qodTEyy6klZ1e5mXC1+Zl12GyoEu+cwIjARK1p2qfrjzwEBzwdgQh2xUSXgsmHNeQbXQER9MUQucVzYPVLUOABxi8aRBC3OoXgw/7aGrXYkqkpTiGwrSD17Grm/9SeCWUNy2Hgn1W93ZWNpVdL24b3poFj+sY9Rs4WcVvVJUUFjEMpPdYQplnrejQx+40hVSNlh/bNzi6+sgIGZqoE6D+B0iAhuVJSWt/7Lp8yXU8hWY/xXCiILztYWjXJskPso5Q5FYtnIXe/skVlWI2JI96lhaE7Q5ub9DFYxeaCTVs7iGs/X6xXW1/wgfAqi1zpiajFHSIUZQIUwp42Qp5ASm0/XD1TZHD15fuB1mTnL1/TnMeYxJnpP1l6IGqQYladnn2aufvSB8nK0NoQy9GD3zZFcS2ufnbU5PARhWAvIKiu96OcUO7xFo/AIC2AC+kVMKaS75Q76ynqHrWm28PZUKZJG36ZFKCxBxLCqJ/i9cufyoTS3n/FiyV6gAqprKoLqhj0oLRaGx2lcNRgQy1QgW+n9Z/rEd7Esp7AnnaU5yhnDFDaWgZ6H/JO4h+JJAg2ImPyGwlJwVAvqiCk0hPe3I0fyTHxtYpWpjSUxI/fYxjBzeAFR1vO6e7q/qxifo1m1puuZrVV16pjFAPK8gABmuWvE1M7v3SZNg3ciYfzeLVJTAZ4PTexA9NH/zbVdS6fUGObEl1QUgQdHK4xqeni1OJ9SliT3AWQS2HN2c6PD+k5zZDieUfpIc6WykoX3g74vywdjmmH+Ms1fOPx7NhcaosLN97kJK/Vb54cubP4knycy1R9hHrz/zmQD8GgNlC8S2JY1aCU6b6U4DbMgPfLpRQjcfd7Eg9a+TBAb8Ca3BjLpyDCczO0OAk4EYnJ71PVgKDWGjriDNjXsSesyb8hEBh2Hgy4x7HYzxiRNNTsIcnERsyy7o/KTWwjsBNoNXFXZeQTeKQM8XGPNX8qvKVXoae2uHCrBQ7X6v0SyPyqBm5YPbP9BTjOK1TBhBkOJem2KKRrH2B3ZRKwxFolCLDgnunkHyG5K3RpI6y5SQwvMAH5K2x8IivH9EFnBvsGtM1S7qbq0L8aK5xZHkWSKxxqhTSDAyRNT0JDQ/KZKaxKE8kCSMaQn17TscsxELxUcp8gBDQmqcHj33IWoGauqcsqYOSKc3BgxLq71C/wDSa7f5B+/UV9FOsxVFpUUSkMxCnZEd77ooWH9b9ZkqPPsvw9Dz4LBoO2Zk4BRS2fc3Oh+gRcDCNqmk8dhj1t476kITj5uPFiMKQu4ZFKyFBLWiUFxjP6TdY4Q/Z/85ajmWFXod5jqc5wplmm2SRkvh/WXeIlKEac/15vM+HnCKGIAW9yWWOpq+jrYmoRxsXUcl2Jm9U+yVkuZv9mtACtag+yfXEGAn5VVhWmKRcjc5el7li0FUUZoLGF9pDuBqPc6fgeTimPL3UHJzWLuoPfaVmr6tKOMuW0uU0SNm1X5lyLC3WTdCyBdYGBkjg722dMqBVPWhe1U9UHIw785a1v6RFNoOeVSMr3VHW/Z2FDVp5lNyZXEsab5FFH+6xemzHY7aSL/Xieg7r6ITMET2VLc8Of02X5UBWDlZ7emLenLIz8ldflsMCoUe4fVwcONnxlUjlRDROfx/nj++EswHc5bhLUJtPxL2ZJiEmgYQ+A0/wsSHp6kdPzR7DFXAudbMh2wXxsIDt61Bxx5F05jIBxyI3tVCgzzXAlGQ3pe4glsN7n6z+73ruBSI3cscpRBPuKcNzvhMPuSyJqC6GcbOfqKJ03lqAXqB6wIPHIOqAEe1ZqmrdZA8K0+eOwnf8TqwhylWXtI7sryXK0pDY4Y5qj3cKIypDm/EZW1S8CwA5gZEqL+rFew8MnvCbT0r08/8P8qX+tkoI+PXT9lTU5e0waj1zk0JZFQT6pL65D1cywRtOYSba1nvdF6Euh0P6l42eJ9tzJ9oX2XiJvNGcqPtYbmSfopMb+LkuSqB/mRY92Uk7UN5Sgft2y6s+QfnDpQ8qx6x7U7AygLXxot8J2CldJfizfhM1yAE4oqqLthhVGEbv182D7iMmMBlkbFs+HQYnNKDE9wkFKN2wd4lYZfVeGox/JgDOrRBt84NGwRynK8gtvS6WjPB1cejnsiHEZbtS7HrnlWHT5fcLOhT/6R/PjjjYMjrNS+fLO2u9PnumKIxL1iAcNtRI/LvCf8zLZdz8pILX8/RrSph0gr+vBAW2DxO7JtpVIpdpCQkXZaoAu3xtbJeVd4lW5ob5wA4bKcFrry68b/6fki07OxtvUjF9D9DmtCTO8vLPyuZITztH+/QDKpeH5leJT1u0r6ntMewIoRYIsS8YSUFkjuS7LmncAiAms188fKuhHJGVkTQwOqOUh2orb8LnpRfAfQwEmjVa7zqw3dq1qu/0PqxBU/d3xM3S4WK7Mfh3gRsQfKv/8AckLuNr84H5bCC58uyfF8uXn2MrxhH2iheleFhPtFzBDkyC1Ce/G69LvRmD07EXM0Y/mlpJN8VC35e+QnD9+U2qHL6uuC9dkgLboCGxbshSCuZadmXy0xsSxwQqKZUeOLlCIc2GI2dpQ7eKEYAX4KVwS0d/Y3P55F4f/p5bZyyZxkcRfyXVtomGGkwvyYHcZMWrMrKTouHrBkU3WE2pMzfUq2dicqO5nqE4xsvhbRHhLwLiEjGIp0vrTjjByEmXXG4zh9zbpk6+IQ1tk4W4wVqDSG02nTS9i6BJaOs90KpJynaXOaKzkA//YqPxFNKW1b8Q1/g+EP3EGioY92tGf5DZFICx0gTinwK66oO5OuTgEG3nZYEZxDicA1qXffvy48glsoT2HpEMLVR2MjhTF8ni2TmNqMfNk1j4YAr6s6w9OhXBOp0hs5uD4uUcZJV7kXwDD66MXp4axWDozB8gpBeGfU79uO1fXmvWPjZ060yRjG0B+MTUol3RPParfdnrN6S2rcOdcHeaH6ekILuFeRXlW9j1YnrdZX64Q+psIL3RVkyLd6WtYJ5U4OEoI74QMhQqB9Gdv911OW0pMHkzTJZq4SfLEsXlvK4CJRI9mwulSaPpDpcGBawVt9eiyyDvOvAtldO8U93+Ftht8tZHjUM8LBlXhAhLaV9Os9R7zX8RHMbMGLTwVYymrtz0I50AmlqPfcgMzuGBRel2IDnKmXVxCeazujyAyBkSwmzy9lJuJXQrA5tudJH8Se+cHuyjaZubgC/C8GeNWAw92qIOmuNm4WZpt+3MWqKspJ4tKviCc9A96EZPsh28F/mVT0hYS61/H2fnTPObf1WeUkBZotPqfkIVsdRLjklvl5TkPoxCGa0nrgdOkU67JTneUcyLN70ZHVdfZtIpKejhEgUMP+h1edET7SsM0eOvO1FEHySN4J4uie+gffMxkc90luNbt48XUiX8zO0tVG4KIUtKMoRG98RbVRuNZnqnVJxKWtx/mH5i2zANGY57KRL465ScCF6/q7jULFholNly4z7vb7HgRRScj8e8mCKY6g6HXXJEgB2UKfqu9ru0gwKMzixTlGcQ1X8MfBRPn2+Uc4of/oZ0PUmt46WDDZuuhklDoJlLyj8YGxtpiBT6T5bR6sjw6ETVh59oHIckC+lXRks7juQbrM/HuFdjL14PbPUL7/53vSR00uHNOIQ0hmojtrU9lyMZBiJ6nR7A/GQ4Cfp1XS2imKhkcLqRlx7rIknkHc5smv+LhQggILubUj25daV4/bzl3AYhExYZoKgXWtTJK8WmN6zPPY4at5z2D6lFYJWfPmZZvvgSDTqSwntrckVRAbAtSQqFQUpWkcs75m2qIn0HxmJZ+D+nFSjjBCESwTQQnI77sdYsptfVbuW0L4Etb6gAG7xtgMgU3SaJz1nfLupZr+fn/IE3msz+UOmHUngOJy2dcVDQBcjjGK7CwXGbdT/fBv7Q30aOkZAE39geT5ajdZIu0Mc/MAmRL5cAQMg2JnFX7BBOdbuTH+R1fHu/sL2ZfnKNo4l8PTKiFWVELHVSY3gX+I45rpSWJpdgx5oPlkEyyufv1psll8ApczuNZEUoezycfzkfzpy0gICtvqo0HcwYsIo4HqcYlrJR5oGU/PXihQOo0qiwXnxa3KU/a+zMeilB7ftUd8OkvkwwjV5J9GbQkgmQtVc3MkJmT7S6NED5XAmomYJy9Vgc+E+IU/DVvoV7jIiIdRwNgRkoBO2yhDn33gcjAuK8jDpai2fhPp5saxTwDWhF1Ks+uJ5cDwdI6zmv3kQkIRNxmZqmoEJtSn5MaJuvz3tESMNNANuNVGCRmQ8GdbzES/sWXXFfEjv2mx9Rcy33CjXZAA5c6yEP2bD6hU1q6DV+wpq657EZeaKiHgFxDHL2xsD7ljle/3PuumRQf6rlHTkylLmg37NnCMaB+f/cj/t7f9uvRhtioiHoCxIedFXTsneQxF3wOca3CC5toDk/jdt0RdB5JWFFOF3DgdbhuEEKyCLRScwUIUkXclSXlMxDkc8k/AaN8TJ2OSi3yezD3/X7TJG/Qcy/aAlFAvP7QqYvbVqAGqYI5ttLQwfEFARSAULWQXiVbV85xJhJKCJ0FYr+mVnSzM1tj/3VICgLxC0Dv76lm5a2j51USiVIIVMdzTHsqyLaIi1u9a/sHqXR9xAKlI44mgcg5EGqiPv+qxXM21RCPJNGoJwehD0D5Zm8d4hWtZRKVvpGhsQNNhj4VZq0hbaPajbTgTEigVC2D1Pf8MuCD29PjbBBMYXawFTdZJ+U46hkpCqjMdx4wIWz5QVFcH9zvhWGeE6+60Y9Kto4nUlh+EaWTVfuj1/PkoYlUtsvCFymhnPmb8CzhkLsHqs2kRStolFqDqu6/aAv4KqEHbqjZmRZ6KAb4qVpThKSDpofKu1LAfD9M0N68Orgzq1kIMreBk57+IBkKNL6P6N+id4nVyYxvd8mdgmsfrbtXUV7eFVZSJig5es8/73fWM7K4bUatrbnWOgqyNx3wkHwFb5b4p8OOkl/26rYeW+MW09cOQ6K/ZSvCjYYThLSJaWNXaRr7jDKsL7BJUoi/fBE4iv+Ny+LgFobJ/sP/5TIfga10r9VrU+Wc2Qn8HMDKrKjLPc8LGyjDABN+p9bDDJkBUPhZsf4CzAsIghcbE1wACMgO7pBXkYC/lAoyDjDoURiqPuhv82Qe8kDZUSFB5qjPoVM3OHHdkFbORETrFJejTlWAdjzxhVraf3rEDMenMjwZotVPbDu/Z5QkRE3IGOpzAWoylY/RtZKxlrs+uZ/mFcgYOdTc+8ZnuxStvrXfxKmGevZUWTL+RBBm4xawHmzLWIYwlk/woncw0I8udmkxLYHRpydtF0Ovb0WEjTDiOjJcKfs89D5DHw9WicMaqJ0OQnAo+Az5oSjyQ1NGh2zV25ynoxW9IJhV5Js4r2SQMMxfjMLkkghYFPVNrJFeGfNog+qXeXQSI14xOe4oDgcntcOcyImUBoh0KYleHs+2rJO7ux+D2PjWySAjY+Cyp8MdIvF9IARufDevVBxFFfhNg1zHf8J+Cn4im9Up7w8JQU5xEIcjQBxJPnZuRJP6jFD8q5qjjDFQyM2bnpM6NAZOPsxjgw0oqwm3GeDQVeQv5ucj10Gf81EC0gDSUzokM2PCBDuzrrSeJqN/Skb24Dmm20fVf1Bol9xwwFEtRCH4STJj0h47BBKTL2nTGyVGm/Z+zFm8Y+Qkj06QbSsUC08zf6HVNeascteAJxb9rka/ifx3KwXtC1GBZGsQXp02uWDn4PNb79RVXwWlcngXVDcofyZ4IrcaSAXx6cr9i0cO5xuIauwXHIdmE8q0dbrBWefUaiaDiMToix41FSx2KHoKfqEJZKbLDhXiBPCxEhdf+DGgH8s3vjHx8BvD6H09JxK62M+RtIE9qd2kQZbp8cmPhyACBbnQuEIZEF/YdlTVlWCeb72h3+1emYvjby3/RRxTrN6poiatdI2z7W7gvc4MD1/rap9+V8lzuIEXKcNoPIgnfefZXpTONC4oOn2a0L4i454e62Q+JuJMwdbSKjSyYFtdh39Oauc3ENNwMm1Gih6JsCKPJ/TENPzBDmfhWfwLLDLYUMWeDSaB0x+O7jYdqqd3LGHPJvB/NxpM+HeZAM+n1+KdkmNki0yHxIchpLUTf/O5/Ct0UePPJBkc08ImJTiGjrc/XH5vZ2zxMlaYczcIiWAHlnIz7GZZspd2AZiweS/yuN56rUKH+ipJEO8GXqYgj+FfU7Q3dt/lgryHmgdAIhCv9Vr9opvtr38mPTZqTDAcXTNz7iWLEp/OpuoPe9LrrgVTsfc1m/3JXyXgUxsr9sE5901tGloF+kzy366Spt1/sItD/s8d+u0ANlGPFzimT40r0xDMWcclj3LgUwNhE0xo8HrvtBoekiujkTw/jm7BVvkJRyicxPAReVEnpdyMtzXgxSBxH2u98DscWaHAixDqsXglP+HiNUPgB/p9cZc0k4PytzJhq+pCo98/eMZumm3jO8DCUa57b9dtLK0XsUrjQ7MhIgn9D+j6IxOibXS+nZBIS1pNTru4m2YhT/7iFBuDFAFnocr8TIuHCaKX07X2dIWq8sqtAabkc/tur3vzwyuQAKftSGYNuVx5xUuCCpEfNgcyqNTWYMjWEt5pjl7X4D1ox0qCPi3YRg/tyvxXuTXFKGFbBK6WHRzUuHXoO2uv0twIxtAUgedFjou5yc8VdhY4kcokWF0aGGYtLNdtlwjDJksJdCWYuAAXweMlHwhBghBBB6ZSQWhr/vl7cMH9DgMs4Fsl298sW4MDL+POmaR6WNX8eb165hRfxvDYmXsqyOXPh52UeyY/oRSpnfdTw9HHhPArnODg006+PzOh6M35Rpz2/411g0G+RR5GFPZilj0Mv2w8pbRKyvRemk+D9YETk7k/mc2EQqiSvq+M4Q3j7JEMyX5EprMKjoZ+P1R7vR1u7Tq6kFnJ4RZGc3Gagf/pn79kg7pP/MRiNq46rxhcuv7rYY6AifuxV6dqAh2q6c+Mtiw+3CWcRuHGHYTPGGXuMl5/kCZKskJ4Q1XT6w5vAeM1MxHfzI01hjRYDRouJT0eWIvH3iDu29uEW+pASB2bmiLy/RIIdg0sDf/5OG5J0Mrf1r8iGBadOssmAmYlfC7DljvV31kV9MIVuuiy8d5pjBck9i6uRGBzDsGUzX71NFnih0aUGl+oHIEp8KDoIejQonyvDnS2JQRKvKAXhVObVhFIhPo9RY3rQA9KKUQAycENksLgJDNpoqjEvP4SNyoMHrZ5Mf9usSi+6dClVLhP3AcLDdvXeOiilzy/K3PIbJQqGOJlCF8czrRjeYw3ceVCDMVV783/SuTBGiYjVAHqQYBcrXEWySix8vVioAuQgD/zfNjd93xRGMmGdezFb9Ahgzv4F5HVZEFyv5xLrIMxctMxoYdATi4FPuodj45mra233zgvA5dO5VrURY0owPbYM8dJRfeoXIC8Cnvd4LaKeEhIyUaMr3ySDdcTiSkT2t59xnjjz0NuAwkDDVuqcaeSHQfkMHgMa9VDK1hEtPwHL93B+jfoI/TyP7pEPUPYyliPm4MA0ZgGALdwUcR7yv+KVK4YKADXrAfQWeOVeh7IiilrYoT575lMWPJpXTc+dmhCp8dVILF/Pkt+7lQrizyS+qVZmC/bp0MO+wgeGhlmV3tkr5sP97v9TO7IIzWDPqCeal9KA+WuzIcAHn1V4YHeCPwunC1TgXMQaGE70ncoln2hWJ7qZLxkg0dUJhyo+uPdAQOGbCUh9QsTL8ba1m2uoCnrNbDTKbgxruHPijupvKkEvRklD3++RkMPtdu1ss4WdRPFQU7UieSBT79xd5vmROO3A9PtjAz0b3Bs1es0VouX2r/RmF1cHaHYEh1OIYvQx/TKzvJLgz/m6tSE7uBHRLQTKzkuZmVCMECIvGMHioo7K2i95pSEras3PJTL4x0WjM3oKfjqulcS+T2/IfniVc4ntVw3UGXuOGrxqJPWOUQ3/fhEKyiozZu0nBqnnq5H5f1OekdgCBEwkOSStBG9BypBjIKqS6c4Hp9ZTpyehG7vbn8lZsqD+tCNWSHahIAXhYxFjH6HTo6EaHbw4VHf8NyEokzXTBiP/M755idgNrPi8YYynpYJFK92gYJQV3EWHGGw9SD9Hg4VzaTI4O4bnswOfgF0Cx5RAU45lsRNWN4rsLV5tr5NlR2ow7zg/nUgYE82Odh/IjN+lQHOOE9vORmQOVFkafo4OQdoOjVNKIKTcRkNwpBCxZ/WIeuyj8Fxi6fKRqcQxXjfIvxrYhBoIORxLf0iqhMWzbiF7LBuGrH+VDiudrPrTY1UF86yHEDnJJveYXDZxEUqV8lbJvJa+qK2HWgDP9hXTo7nQXY7Ss7+vToOBhqGAHm7U1Gc4oAYziSTKvc39rxjAScnNCtCKZrOMajUS/Lf8bHqBsM8eU0RRANtwgk6q6+/KBSNUrOjkIv35eor2qzqp15MIbkTpPktTREZGFp1h9G7CkzkoY4baSDkKc+jr1wEhlhvjNArqU9VirW8B52qyMR96kqLyM6S91YutdIafU6ZjbmKCnsHyWCtVp4y9N5ghuYw8W72zRquV9Viky14h8SSYU+Bbi7Qj12jmav7s8sdeehVLY9sr0M0Fa499tzgLRULQyuPAeAFa4u3JGsFJznl13w9iZ54KSvFTB5+2Or6B0Ia3tzbZYC8ugFuSCGanZXP5NvFSFJcwuIqJWjehSUyDdP6mDtFiiSXAW5jFidLgZKHPMbNHrswXPiw9IdNN/yAIh8abeeaVdH4WDB1iMO4SvP6j8FJsu7VDj6jVm0C+TEj+QUMwiJ/FXnqF8T+3t165lWUsk22TM4SDeMHAa+CRCi+HJQ02Rv9jVPMOW7Q+/N9RxbR0kos3UbDXlxRxNMjyrPhy5j4jHYvvt2q7CYuirTQ58tprQ5SNGr/dIFBxTqLNhw0rgBm3VHUQx7gLT2G+Xps7QFc3dVtbKuDORreMU3Rm394bjhjaHul9q4fkBHgizcQfVpbph/iiw5lkXuJeHitEc/EMkVD3SuT/l/k53AwDoNKVjwJM4N5gDQWLFEjvKIfV4DD1M9jGxVCu0jo+WUpDHsuoIgfOmnbH5eBtq+EOIXnXFHyt2rS7BLTof0XJPiSVtkgx2cQUVGcvkNgX6ZAxu+hy2jixnsU1TJ/Ow6/J85E3y/MpC5tPJ5m0aTHWBa5t4jdJhjvPbUxzs4YFv/sq7r4eX4FmkgPLxq94fRDaWEkpsfiVaX3kZIU5cSXcEngaji12o1HQd80m70sQYpXGrt31/OcimEkMdRCk5vVuBw10E+F13rKRa/0RtRMsLm/mo9zTUW9bHVLxuF0DdvXzGkXKKK61r6AT1xHe4bMMpdNUcTqNQJE7tChBnFtYHUgrk682OelO1b7PImjTGEkm1PSgOnxscQ12wyOLyhz8S5ePgBkRKdjOh9+NE0g+06ZlY5guCTEaRUDdJ84cCcGfmGCeUneyYyfYO6x2iH9wgIRxju+tBp37oC5H1PQWv9a3caHh82C3H70DJSeC8pg3tnwLNBepXQCtWjs8cMGb6rOJ8BXWHESE0JimwYxTrzoMtFOX0c2/WC9b0XejtE7VXEP7CjqbMAFc6lyffuTqFDPGN4m3T03sv3VpYeQktFgrSC+BHsBnW6jaSytqn+Zg4bwqSExwsap/hxMyNMUSHn2iwh7ul79ZisEOCfK+V20lijbVQn0V+kFifg5IsLPc8QtqnzbN3w6lQBxzm1khu9Lpv5JkdbmsmwBrAz9AUcbBOh9Q9E15+JYTPyhtT5ksQJGtkPRcdtbMmObDT4CFlGuaqnZOxSY3/Q/aGCgB0qwKLClq3rRBf02bz7pr/qRhcQT2IoGzhfurdr9gacekEXUMUW/mlTwoCMID5r1CYHpjGJvaggXJQWFAttwrEANhdZjCBU8JiJvFvrzaPunl4YTdzbkrKwUWLvaC0z5+99ALv+QKFzzDyZ9p3IrRfci3xOaQSNqY2GD2Q95DnI3jp0N4B+QdY2k6VED+xNM8Joyk4A9auD2VbZQ8DgYQpsVQEIlIgGsNqtmS9WL3ZsvvYaG7UgyTTwhvO6bFr+kZ0/3yIxapuzhuf2vBQzyf92JMRDBG+Ztfnmdjik+r9xYJT6cy1cHraucSoqNJ1/fV4zQjvVgnChev6PlhkptJalsXq3zueXEgWWl5fVQgoVosH6yRRjGaQG8DNxcTm/S2vYbwaoWfafhqU/6a3+BtlOqLrQE0FubJiS3WhCrsvhEKagQtvrmZ1AlhH8WkxmMcZkb7YBakDMpm1keaZ1U1DD34hvzjD/Ta5z03UoMiw5VOsIurBnXRblCTqeK1HX0HOT2okleQ862FnK6PWw3D8LNsffZ8wG+UPRTFquJe3pK/BNbDAzD1tPsLAfdIJlPMe97jIpfva7fL6JEwtHFhsz3S0+lJ9my1NKu7vnGdB5utAMHIj4lkLpY2+K6Na7S/ttqvh78fp6uRAxFiQ6Mzg6t+YEPD+s80Z7dkP3kk0nK44cvdfK9cD+HM8JDeBl5qrK+Sw2sowMYhwdBNgTgOFLtGC3Tqwq7KVwSVPLKodmFgS2feH+uk1ydbRFW+/4cHjYRr+2hrD51Z+aLu0qt5chBK/aa3QWlqOmxFx2i9KYCf7mOrja8oQHdIgD7KD6rELAoahylI+WvHD7BpcfKsNa5NHfKVYz3EcuzhY0pp7R2A6dL4r/SqLi0NM64ZI07NU8BKgO4CB4mZYp3NIU3rZynHfhIkp3izl4kFxlx/dnfPu4DyHMJOZIHIAQfyjfDTly9XgzJjlrRbPByZLcNr0oCBoY7b3t2lIESaP/99op0G61DR7N1XfrQ8j1eUrWsdIpBFqxOgoOXbC1dKcfdV+/RzG7priVY8pjepXHuS8pRvLRd7rlcnSKay74Ur1OtS4UOHQVegx4lkEulhw2VWwQoq/HM1XtnF+JhEB84B6zrUlWVKYm4yTCyjlPXD81ZvPmqEWAU8ALuTJMJmhcb3dQpqzYRbx98CnDCjiSEVchY5aehPxGYWTau1xcvGgCFccWvIL22FGXoDL7xSvqLPhH23Hrb+jGGVHPWRlea0tf3mjp98Mu/Y2ftOR4LQxLMCoHOVVMGGo0P/QbdMlwa3JWPkOFiDxvy2l+1EH4bnfekYOXlR0mfBqcvWXWXj/g1TCDpYiqOw6jG5H3KxxadijYxdo+2f6SU8xBPOydUsf41HPKCkrCqWJRkOaFFF0NPgfyiua/okzJM1Wa/+KA3eHAajuvE1/Lo4CvC3/VPxcyXlLufnJsJBBUB0gM4m1GRoaqaxm5bFCBQIEzIkqlHer5QDW4Cy4p876RokRUAJ9fSVplNZscM1RvVGFpEulrHMZrTaw9t/CzXNtM1emkteNqHC6RlcxTWA2d9uusXKB2nMYh6zjmPZfjFN8zYoRO3Pb2umPdFJb93DwUbXgqNnzzPziqeV9ueu6+vK40CPZ/WcJ5RZNg23ZuGRD7rm17sturag+bLoGPU4i4BI7bukDIsUXjX0tjRwxow5COVECnMqpvhsZ9vJymMsc16Tqg7bOm4pnwkp+nF4viWOe0ngxhLhCQuKqS3E3INd12OAxEybqMxWPgYj749BPoz80ude45Z4m96gxCUgbfElwtsZJq/2/5L4Tel4tI/jdzfPjRS8pyy3Je6JiRbH3dQGEKa5FEExP+u93u+rzrqXxd7FaiXM6XDxv++ksZFpy/V9byjAGdc+m9PncmRNULQEHUWSHbZGcZBOLBHhlIqJ/6cvGfJQnAJBk1hxq1JQUJhSGuOQnLZGC8NDozHezdL68CLSXUeG8SDd+4z3GurGknVR0X4tA1HDd5Mx8Cji09gNbYmFbdgc1dx17k24k2kb/WHrifgA9tbY4ibLK/KufAthlVC6u8a2Jjd+8vEOS4UBXWjNA4sP+sukj5wa0hYQ2Zj1xYVJVUZefntsMbdNf7e1ckejjj3mNGvpq6mwT9Krn1W/eodrfEKYqYX3+yR4/EsKezCJzUeIQkUpddz+1xoyp8FQa9NHriQSdCfsOhiAM2mLEUXeFmiijomjmv68tlCJM1dAdeYEwHRpG83NWgh0VBxHZxTvgZyQsWBxgj60bBaMw266nVn5aZbTCNwa7Fhr+XlvvLudCGDmy2bzzVpi1kXvwiuARilQQse4oMQsiELou9AVG0fVkRvPEF8g4FkCkypUzIIgy1ApqbUb5KKSqp7HBodOde+djIMTJqAWr+7XT6KxtJ4DlDxpWnLj9A01MKTuuOAJNnp4hTfX3QrmmV6/y7NZSA8oA2lRs/QJ58xyd8oN8LCs2lJQuwNRX1lGDZTJNDJqjKWLdZSB26yKob1EUg0m6M11XLpdrj+QzYr+YpLier1zGWWJhC0z/6jQ83WAs4pOB7g1V+lNN00bNmgWyXGh9oIvKrpXMB703ZmEmMX+ZDzPpy1cJSwnaE5IvHdXx9mzK3iPtE+Df44PMi4L8RjQYseezC58bekF4gIB8mNe1JKxHFSYFSPltY2+Un8rSoYYs0lqe+58tiswYms1uXgMHA+Y9e0/d5NzvpmlRof+Rzflqj3PrgKF+vW5Hb3fDg0erVCR9u9A/ea7uC6IGip3WLnBMauqaflkYSCw1xCX8Kfnw2+9MezjxfcVhUgozD+Pm5Hpmr9AwuKHbr0MKzcP2+mxrLqVxHJrTTpxgaS99s55UdnANtWeYN048kPHMgdQljaB0fskn9/3/fLrxCoE1p4qrT26XJmcva+cZHK+GXFtG64QbQnrBh0YN+VJWJQB8l5T5dxjdJkvR8TS1yZ/lYKOyCMhOjxdzV1Oi+5hPSkQgmbHiaPdp5ie6YqAZDYbm2HUVhtVSJTZtJgo+ylORHitOOEBXz3y2WznWql7RRBpX7zqQs/1EIZU8ITB4VLcq8tztTu1/+bNKjNFDq5V2BH5lgaLwZZXzDIl41IuKi+LWArTofGDR9+KYsCBnzZROzHlumCfuqwcDilMYaMUE43UChHFck2cNk3r0xe7cB+680sgmTWHWrZIltqj/RSR0iNipFl4Ud5jpoQ9tgfpWxSekwgQeQS/ciiioeT99fLbUOKzgnM81ocu/nfwhcGbUZVfOwTRk1kKnTcWtgWhWDqowNU/2W6cmlVC/4qO010VIiY5atl4AkXuH7cxRV4M46MM1WOUgR9k7k7X8DIMDsQcnEkaso6qST5iSvTMGcmwfiuj4p8Zp9wnDVCKsIsIH7/Xg+VcqAagbD6rfomtorAcPPGHTxsowZaWIXD3Ftu68Olll1ZUkh4vHZdjFCsz508Emrk5dIaME3spxFThYNpVWQiJtmYP0b7Y/omXhrdho9XvGWLpRVeEwUz9oltvcpSzsFN4h0DK6dD0Wlpqm9F33MHUg7+Kpfm0EPr/Uz2blOvulsLqSi7DAnHersx4WYgl4GVkls1fMzGQeBrxpbTKHztglIfQCOJ7meCBzsPVs7kFMUPbc/hGyKFviTgpWjP3PMQYp1S2TzPSG7DGKBokT0GiK7KwiLEVYpTDstYHELOmW3sXfSLE6xDP9TLKWXgeRkNCeJUhHH1sLMyEvSOLk4IdC/YRmISOHxgXrNfNavWq501I4YTOx5GrTaPCyK0tflEKtweKthBpAdm89QH2nW8nof3G8O4U1txOnKOuZcT9GHJn/tIdTJoNFaqPtwg8ML3WmrmhorDh4/9/yd1Jt73LVZxqLQ9z3fm6Uf/C6QmC7YARp4SrePUX5c6JFWCI+Jxh0cGwqaxMt2HgA96k0NpwwsHpNN+tqkzKuF8+g5fK8kvczesDVzjyJOpsmWKVMnMe46IHqMg+uHL1QGw+fxpEjai0fsMtlBARz/zO52BwlHid7a+cC3Ch0W66LATHRBYNJ7qrw+xqqnpJATVV7x0/tF+R7kBsUs+dAVbhmQ4v9GRp1/mtVsIjcEfYVXGWthWUjEDS0i97gg8PJnQG7YK9C2YB7yifSgBdlIx9Bmsx/i5jMbmZkozvvELSSK0XQENgtSNTtrrDCOUwPvplX9fYvEA/2MVb5MJWC9Co70nu/suFjrW7y0N2iVIFWzTzHORIxYPACke4di8mIjxye+uhDR78OSs3lDQJiR46zE3pH/gNZ5S6ocvlxrQQBEv4RWLO6N3E2X57Q+q4pxRFIbb9EsPuZV+BWgQMa8ocDOs8kgvG/Yg+WlXt3ajJd55I5KMPG5DXnfx21YUXzFTkI7qvqgDVEPASyV79dvSABeyObj1stpcL0ZtgxHm4dKw6BpYE3dN7ZQs833yA6zd4aSCCcXSOk+BWQA/6VY80e43HqIxUGm67nwAY1Szl7IWGrVUNLxIeEzuBD5z5RdWVi3H/UAzTMCpdHsRCPvdebd+tHAHPAXiHmY2abSIyazfwFWjY3HXY8PEd8fgYJ+5YXtvNlgZGR9+QL8+O4WAWIdvxNb61NdgyMbRRomrlq7rttTY76Q0c1bie/Tgpb26edXkei7b1aIux+YtKTBO8tf0e4hzb1p+Ykal2xL3xBNtBaupOzZcGPf1XLGIPC2o8tGBAkRn8QQ+jWVqHrbg4OEH6Jzq8Fl8D2pGcltRFX092G3U62VUgd4hzibOzey9tB4ROV/Sj0fENcggi8jWEc+15IaTgVqL5MgMi7v45dUi3dI3A8F5UOtzwk5EsSHog7X6SB6g8bCYjIrBPw+7tLqTqSEu2XIhN2TrAUuZqOl5/MUFoYEhMrdmA83fFqqbKtJXcyKNuLhhdVYU5cmLFNk1U/UcEjkRU4wCGok1EszErqCs1SyV/6L+Qz8g0yLaMFSd8aFynTId+6xhau+xHYVpI7vIecxXjrarXDpcytWUAg1lIyiVsoF+gBZngc+mFCva6vQfVDYrr7/vjrTvvor9E2nyhFzwXto7V2xZlp83BLnVhEAgLzACulM6OWJe46K54Nk+x9GfLyXYG4HqescP7mA3WD0patfGrlRKwgSzh/NaCkM2+OIA+lfytxwaTdqNjRg5t3XRQaaDTqDc7BwTAA/gPbdHDEGyezx2DZ53uZDShD+kXVY2tQ6lsN+cbMTIxg6yQj3vOp5Wx3j4tD+nn5z1pAji4h1s30iIIBjETqMY4khX7T6bbpiRrVyzyNP+dIvPEhq9o6UPecb55VX9mt0sY7gdPiRJaNyzcAGZL+xAIHNWoesui9FTw7cCl/ungi/3NU9GEqMqy+g8iOYGZqHEGNOwNXA/WJ6iJNr4KgtOrCG9xhcxT5YOBJvAlr73UJlbEk5K7PN8Yg5ZnwpYDOj9QDbAyU8L87kFStbswNMpqYO6hNCjcEbjnX0VO4uc2NQRL2Id3Z4xYkAWQyDVJo7BqifE6fX1EBtHzK7hYIaJy+4CgUx+6MRDkv/KP/qb0F+6ts8RjSIIXUtaTIl8T4i1O47XUzz65TPUWCMytr4TVSBhoGB9CIKOzxi1qVkUmzCZDJevdkWeFEGtY2MB93x0QtMCXlxd6y4TktfD9p1HyOwoxp0OR0GcRAXqA1QyLSYqqQnS0cqRxhGKCFOoNK9+gTFFI8ITLQOu8XMa8LHcshIqhl6G4LzY5O37ODLNBnyDRUJS0wGxOENmZlUZeYtwJSXt3JEfHsEuIOqXHNT4nffD9M+a6vc2gyuM5HOiFO7f9BL0584yOtp1k339nsJQdVJINqBiA+VN3Ec+TfYB7QqEWpKgPy9O8RWRmNOJmDK8LMIISvLbT9BwFwqW72AF5VUbSGbXYFGUPJV+XsimQnuvWaiDPrExHKT/dgCwDnpUjXlCdcc+mWXy+lfbZQIupsU/p5VRRzI5zxHpvoIidl8d9ddTD9EebodO8u6BfH8GFFexuoWz8lX3hHfPZpt8zkDf5DhkF4AAv+gL0muKLnjPKq7BMhjp6SJimTt2x+eNTVgltK5+eKfqO/rJKy2a2QRYa8pLQILh7r1SLimGw6w0m2gP/GR/O0oavuE/jeMjzgLCrMO/nUclgdMvQlrjHzNvyqAIccqsB8GlfCZWBZFkYrGvbnGsLis8H9W6Hg3GXkqMJcfp1IMedtdmknB0fYta37gmTi7O/CtPkiPsyNmzS+pdpMWPL3TTksSbEXtouv2wZ/6LxBoSl87SjRAU7bLJif9Oyog3b6UdkSIJPjN2bowL5OmgwunsnuOuxEPeaC/y0ym1GpGFYVnDi84Ma7qnEQRJ9yDFGnyNaQ4gBCoDgwhsd5GecKhOxrkjwz+nPjveEBU+lvOPijWGFms/XKfmdxadY33hi6QoGfC3ZFIk+phCsDsZR3k5QpetJRpQJ2xjfZYjMq7rpvVZW3jsC8SI8SQUT/lJBCq+xFcW2wFM91wwLBJKnaN7p8Y+DdHD8gdi56gHAFmgHBNGCQRQ/9z53uF3krhzBy+CzHQUncTN2DIWh+dKKklg/L+zMyLy6SURiUHkiYORdwByQhDDzrKAX2F33Gn0QCbWObuMNzSextYTzSsL0uWW3PUfE8upIENnvgzly20WbvyOeHEPiq3Caw9qxkHwfNOS32zQjJc9vyzR0oUH3ap0sC0zddrol9hmBULDnGrDjw9fBXkMc8ewDqRBJBFl0nvHyY3qlq4usBUQvsCHsotpmi+3Y5A+CI7sFOl2AlNLOSDSTwQeW8QbKj+RfhlcR89fJyWaucv4i65E5quwtdpedeaCRPK0QkjpGUlOLrQxa08fTquim+Dk8usZ3RDlBN5oykBTDRsGBRmPx3+1L8BahGvIDGsGIQp27TNQQv3xCQFYYfsjQsw7hxbVUAUmIby7ABfxfXhJZ5YlNHFf7QR/bHxBBCoZWpo6oNDHWa7aFJpLsUxVzvAvbIA+oh91MsRZlphO9J7emQ2jAiT8iBURcqfp1qJH8NrjtyWZErpfTJZgI7e9UpK7XLQXfDu4a3RZsW27n3FavyVEvTkwG6ey3kfj8KpN7HzUKdvtfpdTt6jPCmqGVxv8uVXx4seV3/Y3KNa6oovf4nmoCDpaug6E53JLuxjtYOYz7AkwAoTUv5v79IScANWg6RClqrhuN2ZEYrgdiNDfanuvOD/p+WrRBt8O7FP0SMRivdzOTMaw2rBEr2Y/zuY1Lh6uuoCFZEf+ghRB+nc7ykSE+b51XNv3phkZwkw6szPQOHK+DT0Y+aFK94Ea+TdRB2g4T2B+KJAYTOJs/Az/z5Zx9WVjyIzb/JpEPyNLF+1NYzV4AuPG882QZ5vBprdpen9dRvqezq3PjbsZVyZKx6OzL1p/9gFdD/ffjST7Ko3aioI1xWWlTCbOvgn5CxWgYqq+xy9I5u6pHjlI5WLwWC7d2HDlRdxa0u7eZYQdEXM/yzSJGxWzbr4Ak9Nh8Ik6k8h9ZX6MUPH/mQ7Qd/4wmv7cjmCuvLQnHYP+a/dTBirYPuEHehcx39rBSoSYpdgyvqfZw/4jUh76RWOb08LdyrmN7b5YPgKAocp55JYFNc6vPiRUlk3Fcla0fZidYBYGACV+TwIiGpPZ7WQV2X2DP+nYxLaR+EkwNtZEPqZ2PBZszeQqeayKag7olupXHA7w3G41xnH+vbDO859bn4fx/Uar8CbuVdw0miufu44TwmFxhaMlveIrJzsoV+6L+vF5VcsYvMd+5bxMy23P/GGdde2CPdpAPdtkXV+noP0cgPvfohtMV4DfqCSIS+d3WmZNTpe8lHVTrMuTo38sCPeUObz5hLgtwjwk2GrOdXMV00JDeIdDKIwMzoiTLI49jDVkLTYuIUvB2GJkKccLmlhYjiE7ztFzreP5Wsw3enuD0FDcWWnRSn8vulSX8h78WTBUxPsg0Po6hZb8V8KkZctH2RnjAuS9l8y2cVoPMKWYpIbDpVaPK0D4js4opsvrvpeQVNQuFOrngGDNIkRAUOyDFSWGP7cPbGWlgMKXZC2+qe7ICHs7k3EifJDMMlg7cu5icFnpI5iRnuiL8IbM92uoisg6+wuwKXydvSKSFBYPikaCLirVPillTlRi2oS1DTwDU2WjiI3I/fwYF/qqDyUJA/Mf6dzAvcNNlwBmTFp6pwrlEUtrUehW3SinoS2eYhWEG1Kb0bYFHw1VvqGdW17l3dkxsc4n5Vyr4RlIeiL6cEjZpHkT58YOTF+yWHSbo40yrLIdv1mofQs48OhjEaHbinrp1fS+ICH0hPclJME1f2BdogRJSihiZKLrLRZDtKof6fbOWBGrjG0L6v2fuHHlC4s8IExFaBNgU4vsIBvz/mkuZVp5yX7nwYDWco0mOLskacmU388bqgQq2VKZlFt5XRh4RUWeXjWsQ6vH+9JWfWZjhtXQEWQ7mD33PXGUHM9NKudwaE2mnJ+2hT6t6E6DATRil8FVAcAVSZM8fq2p9olTuNBlSJ3tB4gygB94tV/elfoFfm4b1pvOySxR4PjLEZDtmD1SSxHMcVg7rbHzHbnFpXBj/uJnXZTAJOskEThvxpx6mOPRCBQFu3EMLUkiulkKga8HYIpcVz0Spgn7nEmHtwS3hZYGEwIwSYSvG799uhLx2zq9rteFKZupcgVnNJ07lRRXtMJN3/YBPyahQWHzGCwtnaixO2Q+IBlWR+lgfFxqdJsE3/nPd6HaxUfVWtXJ/Z0koJ0muJVR2GWMLbrBANR8NPtcmZnDJuzvzWh37e3k2LGWcXAQ+xybq0MrgCIRIn+6FflyOV++oA9ykVpD/ErTIBsO4HwIJd3QFxnC65KArQE82EumxdAvhrz4n+PYVATheQ81AEB8eQ1lVCwtTS9TX7kAHOTwCvr0Jyz479cW1CTfecEU9M5r5YVsGEd/lNq3TPOyBtyvs6JwDDLGg6G/iQK5TjA8cZu2sitKn/AhKqklL2/g1gnA1/FEebHUxP5GUn3ryqFFAWZ7H+qDqiLBClbA8u3dYCUpQ0yXo9Tn7y7WN+T+jwRMsMXOwFEuM0D4SevFpr9wZ8LGmYP3pgNoO0JAmyL4MQZnRjDXecMEQGwjELuPLfcSeDii1Hs4/NupjnxuYlA+eMP5wjm/1e0l82g7VbEJ3dotJqQWJUsLeKBSy3bJKgG2gnnDGe4dQNi1JVtjgjOy05TUzfbbuhk7LroQ0f4mIam+lYtApZVFj+oIQPkeIAkea+V+gqe4eUWu5BY4leLmG8A7V/C5ZBFqJHvLI8joUwjMH70CJIOMG6YovNm4BEFRlFVhcFPDS/5gc33CA8fgtOOIKdsZOfRlDKrmnJAjCniIKz6px/sLWN80Ih2jwaATDHstDo2GoSnSFAA8n13Sjj+NskXOcTmMrGSgZf99ey9KKT3Q4GZSbKdlIb8arTNRKkPz1Ab96PaTxWAgdLZ/qdKtd2gZHV71J/ev+0CXDpVRkwH08JkMMNZNWEBqp3mHP+/0GvS3G8V54chit34lacruyNjoNelIVVyQ+3UPvxiSoU8ul9CKFitxtS8tL2YtHDBqLeGvL+iIBtNroph2p5/VRegFrkBHu5Xj5DwYoA/OD7MGzrTQg1jqlGbY/cvRKMWSku9WQBDy2slemsL2SSbf8b/4uSjVfl35tygTIzsITwQc5MFX4SYmHd9XHGeCbiYprXkFNlHeVF+hxMl9+GtmkTQjfuIMrbbC/Gluu/2HpD9vvAlG5QeHWdcs7oQrdXhzCmZa//lLt6hdn0waLyV23F46uNcWTUOKzlI3p6RsKcSNcIiZCm+uEGU3FCl2mGmLDFI9d3Y1gWs6OcnoqGj93fjB0j/brMrw+tQWNUmHobhdeSdzNz9TRatKQGJdTJq/BCBD244eDn8jCw/cOOpwy5OlGFm3A0MR67OQPnpV7X4u2dT0elDKSlMFWL1pJgcgLJFxfp68VoIPmOCLHfyEfN5G+aF8Q+Vacf4c5vsbXFdf9YrvZXIQq3ni8fX7VUQ+LaCg1UsA+5Nh9mWPo7/F8iryRMXeCL5gIzrX+wrx+drf1HnPU2wvxcS08JTKVncZewFq2RxsENvnD72C08evj0fNOogKiAVa0caB3TSBBpXDjR+8dhKTwttSC8Fllf16Hu0SvYJqPKvq8SAMRTioGMyF0KEVAzr9dQg1GxbJOliF2FA+b540j5YEQfbL+t+FYMsvs72sGVnQbnN0Yw/b5+HYY4wBjhjxkhDz059PZTDTo9o/gO6LGRRfaqnRKyQYln7GypV4bCtLN6reVD+8TCPdVR8GoFCsMhXXMoqYfJvtQnokg3pk8VfXL+ustBDpWRZwCA0l0MZsAevDcP9LoDqGjOOW4ZmMcY5rqwnk9fb/oGdqgMbL1s8XnogcL2le6XfqVKyrMiE5+sJ9ajKcmkFFHsF+kHk92EEmATlkveyhjBVgCBiLoekp4mOe8gYCoCWSPTAU1xMH+6iVj99FU79li17PbiTfitnKUWY78bvy1a86SZ/She4FQPVq6MXgz31Ungjoguh2jDjkKsXEf7W/1hVZH1MQ98Fj4L3HK7sKlfJaEV1HqGoUcFXygkRcfaDRJgeMjGNvuxbvg0W7lqICaNS8h52tTZ49wwegFlQFV8Vpd7QPTV7SflMEZvKg3t4QqUqtZstQHn85s6z1N6FSHE2YPb+05ZzM41YtyzRsJ/ytbqsdayF7I7s95oPtNJtHtcY4IYZDp4//ZZ1yVzNEENdsw3hqtc22w5rB93mUhpMiA54a4lA8sgDi9kx541F6DJbTCSqyL+w0/96uijiMIbPCtvcfCq7AwBibkKA3FNKnaer7z/1SnxHPmkuekQB55nwkxey+MeXsgyhOEv7VG4+kUVIKHMynOMl43XLsBOSI52nNjM1iXutbvfIWf9hANKcQOqSVb93OxLS0C5eqXC+FHpzAT2+kTFO3L/+0EfSERsLWiTgjLA7yskZ3ZGE6e1awAOrK7cBoSliKJpgNd8/ywUKmrN+T9hwxO4XWuLTiWXQATx2U0+OiLjTdMItOXZHEQ0AXKa2tv6uFWM1dZ7a8ktA6SaH9BnMHhBmtEF10OZbpSZFWXEpeiqrMkLRJTiExCMoNGPwlicq0pkGapZvslw/gRqa4JS/zPHG1I/2lCaJjKSUjRnXRR2wg6T1CCq6U+Cm2ry6vXDtPHJSwyAWkoItcCHIO2pM/y9SoCUS9lccGNXaUUHd6gLqdi7IDjWHvQpa34ytlFc/Qdpne30OC1aTMKUJo81cXea96oQ2OYDFx2NqArv78TQT/tlGhZn/8gRbHZLQC7zH12HSN/XErD1i1gQnRGg7fFr0t6zO9rSn72aGv615qGNJK+rdXapjO9Df3wobENNDClbjxhw9uFqDjiuWXLRhKxWTTWe2aZq+4ySYBpmMNJ1T0Y7JXpUx+lZqsVVGkTz7aQeaj+o7RmdAaCbOIEkjHW+uy9kOZ1mTu2lsV1ycAIPW0dbQKwXOQrXD8/+ONvtrArTt4j85AMBV8ISMUS++BXlzNjNkHG21PWPN4lZLGrzIxlhHLgfxllZRUAts/AYF77zvr1cqsgOgIj3KpmMqJ7WGJ/2GDef6e8Rzvml75rS0zO4Cn+Q1vKgIysoA9r38EVnXEg1v0DyuZtcEHN7r//B0fAu/ppYb9e2/KVTCjfF9QkuXtQoh8CrWZ2uF0c7iS+TtCGBUJoFHDJB+XeM5FNdY1HipJOfKXNNLSaLAhxkIxsRQu3CBiGMIM8l6aXPk7xe7YLaNXpkCBERmqxXzvrkgNxXw9oNuEaqGQ5/PAcvHwo2AwzcDv5IRK8X9vXNMFoSvwdIQpLqFEWtYDUSaKxTNNzNFxJX5MAB9j2eT/phmKn5i8UFzxjXYoxWF43ca8ahnPb2lMdY5rWAsb+Q7eyo1t47H3jZrU2erdOBE9naYwh5Fcugv/EEcEyiNMbUd5u4xBi9tdN2tyJyjdUZfgYo52GzubzErSvTsAEon/TOCyJQlBkWAKv7wqWq61ukQteD0Wbqznwk78ehYJto//SQVBNgXJk94FQLU4zbnBTLycm1n1eDO9g+9+gEvVhDivS8ys+nG6zs4CvFHOWYFfYjOOoOkNi7FzVNOGaprmntSqiYan/AkeiB+eNCq26/76XBuJRs31X8I+Rr45Amm1lC9kBSWO14i/FJkyZ/m3f+BaIw/N0xmkITypyX+s89g+nnBwckBydm1VBueEgYGVcEf3YHDMswCQ+5KPmcwp30PbwcQM6CqLeT2advT56Olj6ajJsI6P4hPudusQmLx+vKcyfjOH3HSGmbzTgaGlwTpfvaoIpzrzxrv7Z5fM8qdTuDuLJsu/b/bvpW8/ZNpjwtc9aIJomGv+ha8pexGcpONodUX8RhfqjHkGp7uNk+c+Z3pcgSsVXGAHbonTp4oD/ZmPwGCKub/xOHQlA5h90t2IqbwJkkbr5H7d7dG4/ctb1SgN3ASvQ7XjrOJJx/ZDHmGDRcy4MPmtPNxHTjqA2DOQhgX792ReqrosiLiAoBjbX10hcVEPKq7rDfdYjE/8PogaCFxJ6/IMfHNng8PSzRGkw14/xobKqHDbubOJfRhc7lEIJUOEg4sfd26UeEN+JpHctzchrzzCAXfWB9YNq4DnjBQQzhVzX1Z8Vivb5EjgQ8NReRBAYEPKxUb8TEcvURpyOw9ReyDFI2GJ6bmVosWBO6ciRLQva2QXAVjOrkyapDeMW81XojEcDj//uOkKA1GcbVssHEqrY+Yh+CgSjsLZ+wXZMjL6V1NM0Z0k/yu0PrDrz8uXQR3anos3cG0cbTb6fO8AKgYk708tifUE2AaxyLidzrk5UPa+85F+7caSQCcEDaMVlVsIuosjkMGc2scTnIAnD5ALnaOa3rla2iq02Q1mk4ERuHGGFE8YoOGRI8SfrrtTHXMjYTBl5ASJMhPajLjC3626LUUL+OpMKoV8lAoHrdj84+3MnO0zpY2HyLVTcXX5One7KFLRYVkeJqEdmpq4AQHj0C5522KwkSp9mOKowQs5eNjWXMag7xyHvDckeOvfcY9IMZI6CUMNPvqRPVApla+6zQiLzYQpfPiNOdnAAyjQqB97cgPjWXXndMEHrJel5pa1zoT6JWqAdTgKnVJAsV+MRAM6ex2SSVojhr2kNrplKekifYlHKI5SKLzP8s6WhE7KJG99MSR7uh3KROsbYQOgSbqfL+/0dO6GeEhVKZyyXyzN+4MisjXA6GkMPvXUXveKKtU7y3iGcNB7JXkcw6p9AwF8Z6bZrX+hEnVd/0rvZZ8Qgz5EorRxrsBZ83cY6ao4//KZSuVJOjRBtKWv3hAYuQrl6S1MEqkdd4nLDvVJtmEBReHZgZW79dOHD9ZPuCq+4apyggu4EYXF4D7x/xdiQIyfmg2BvMixuekNw3Kyjdx5M5QxrqYZBVu/TUAcr+y4Df55g98PIgNVWKZ8HN/Xd14py2nBdiF9CnEF8POCDHA34UpmXQhMTQKPx5Ar7nOpdwEhtoq9WYk3GW3OHsOzOoCp0RxXaicU5CpyyU7wc+74QVu9y4HoI7UwpwdrBmdFbK/vqyzNb5R8gzTYV7mqMleg6DiHT6j+mhvOaDj2ChmCckT8pZ8D+Jim/XiZlqwWCcbDrr/4uF702zrXUFJ5xmeEmr2zeHFXlAOMuiypJbEEw8gujnHU/cXUiD1SDDl5Qi2YwfICWHMq+qZd3hHsQzse2UNzOXiiMj2YCXWCwfFmsrUon/inF6vA06tBJba5krwCX+oCqzG8C4VNGxgf7CW+f4JBeSg7qcU8sjCoEX5QJ0RUnaXrUao6DyUCh+SlpwYbxzKKXGfWAmIfeH/c9Vd5wHJktuQEZ5DGAJhVDz9S4CR15DVKRtICXL7Kw+9HXcDf9DA2uUWgQ5GiUkszyH1rHX/RKh0QR0AzfH5BKK+SYKqTkBKMZdKZrQK0EzzNba/L8Ec/popaZwqQpoIwLs8qextHxYUFYh6WAHHn165eAb9QHkTUE/4U0x4/t/Ufc2qpbQFPdWO02Ad+ai3Lfxr5A97mapgycWSsaG9ZqZOsezQHbnWQ5wiPZxLglbdr4p+f1qlQVBa8JIdIhiLMvFlA5QaN2PsSvdmEYXsEafmLbAiibkAYcCax2nOtKbzK4bb3gwIrwH+4dEZVnD7y93gz8ngkmfFA0T+ujCqEG3EUKTu/82jaiJNtrcXHea3uuQhQoRpxAZuJysaqxYtEYlOjt+HXaDjmvn5xqXaEGcPcrviUcp9rv/1Dh6XaVGnvZk9wYx34h89DkAwPG6AzGBVo76STsAy5ZfAlazvQZ5LUZYxhmuvqSbBjtoKU2TuHhOaOZtTv+is4hZijthaHCtpDxb03CX43rrkvBM/cBgv+0tc28fpqBVvNSMDfGh2Mp1apPPiXnPs6DIm0fG+fTe7ydhm5pZ6yJeECA98vmP6kv87L826Un6ZB6z4vIMmcz+XpkdnVwoTUGx3YksD12YvWWKncvpPMoOF15v3YAJ5Ztf/O5tl/dFGuEe9J4w6Llsy11ZyC1Ru+vLGJdyNvqTeExNijC8sUAX15xFAG+OVD93SWpKcDg7mAX122Oc/Aiw9v6DC8A3MFBWbTTVW3dXFQVHlrzLhgJnEf6myp8WZnYcSedQEnsKs6Ui0+Zka36KimtwmNeHsZ8K0Q4LywKfCe2LGexvPeOTU9YsFbeFSOKFoe7/3WMLHZBTvpm+LIcZYHSc/XKrMXetFOM4GOHOkHbld3cYbORwFPFR93SZu2UpJOvEOcD+k014sgV5yDzeJZTXa42A4PtY7lYYciumxEAEgPa8lexQKmpnVCS27kpGYFUkTllkDGbA1bDrf16Z/ZnqEdfwz6wXBwCMxhTkKVbV5XVEgxZuLNkyArLvV/BA3uk+3ZJT3x3VR/FVDcKe3E+VVSP7ogLibUA0EmjVLmRjCL0TJI1fw2adtpUkxMz5ZMFAgQiPcurvQj3DBMhAhXOEjaDbCB2OLhwdR677HyGnc477+wQV0k6A/NDIX1iDbkIeugT8UQ9jtgeaVn3iVYkjdjDaAb/9839yWdk6mZ66c8zEMbvbCBIQbZmFDI8V3bNMIPgPUw1LlPNv3XwLtFrR1C3MWgWC6X8o0y64oSsOAP59o3BXF5Q65cahZ9SWIeiG3b5WQhDTH0eUhArShKlikMoNq0zMXZkv4KXdAqJYeYAtfE/HfUVezv9zx5CY9qPigBUL7JcZs7l9Ub68/bmm1BMuPIdYa/bLDxDqDHCXDsWWCBuj3xTvmCEUVLS7BqqDSoUo029hheeq+5VplGRE/+yUUIFr2I7sVifbv5s7TklkxP8zTCcSMGE/z4koI0Yuyxhi76pOxVW5zVK02L60HI6mCXMsdTc20t1rZTvKoH980ep7n9gs6CpY24+IhEML5ft1KjZ7lLcYnZidRih8hYYDGJnkb5SuDp9IwaQiTjt4R8wW8Co6cFKz1/iMA8U0GxiREjWBBbPDrPz7v4dzLsv7DS0/Dxcuj7EaF+nOwJ347Lx3dzl4hmU+D5ZaLykq/zoDQV5MThEM6yWf6CYydFYUmDX8JnA+QLDdYkz8ymc/L/tB1ii0H1eiDImx6fF+50Kjh7GG2+OsCXovIp6ka2nQSlEohW06TEQpheTwX0iSR8rjKtKbcrtv+CLmHDP0rrJ4JvhAfL4ktTtfzsnqDRc3oPcO5oPfoAx9E/kmZw4obEBC/XErEbiAGiO7a7jD3C+XUI8lBwYqnSSNOmPXZLt+b4hBB/ibqBLJFEBlpSqe3wd672ZtCnBvMRxOsgjISspcxwDLfwShuaRtSVKRmlATuAS+Nyq0jLwyX9JFSm7PFyyjkDVq7E4uxURebhRNa7koudtMwXJPxgQPp9YGS0WGPRgJZlN8LEIDRzcy0YDxPRy+oQK6RFpYnNBO0gviZVbKd/pIzPx0kKjJee+6HknLRYXsbFLeEYYdVpJlT2JoC2fV39sTEDuHgbPYnO+/cKg9+FJ/Sz+q/pwav49Lf3w22GfaXoeaw+PU/sm4AH8T0NCnkeqblINi9h9cXyRDo/5MX5YibmUibm7X6d+V9nzQcODaPD0tV6xC5uctfcteL+opYlEk56kNuZZ4qNNtIDT4jkVEymyfAOPzz3p9SmVQcqICo/nYmkgJ4svV3KXwjlgDQC/K2WHdgbGq+PyAJ8IsXtbZO49BsEo6nR/fpF00mBw0oktuTof8kXMDM7k8zQGX2Xo56rncfUJk3bLO/JSe+UdtbWLpPbVPqkbd4KgpOeysG8OKRHBdW+zTgCWxhLVxEZrZUTBpm6oJ1AsmEEioTpef+Qa3iNnZQijI+rbIomUByFjh0kZGYFuUF/FMw5DKZwGR91CyWod8+fnpOsHWzgxDXL714WpLp8gQ4tlK9jDVKrCv8rWuZZAwe+0iYOeP/k+LB0FqYsYkC9tJjEXw7O0mU8SLYRiNuPn0nj20WdmeRcFHWfKT0yyOSahFzkFk9ramLwYipKdN6aW/F+FX5s/ZpvSeFklWiHeE5TEf8YkuN+M1NvB4FwE5Gdoi3c2LJ3OVkqmIBwY4MsmykpLfAzTXsFZoA505KUfQpMbAo6XLITTCM3Wb319wndS0xmu93rj09L7h68ldKs7pgkiRNvHNKcVZlYGT1hOtan60JN5Ti6oeBAp5xbwuRJhRAEo4IXrfGNiZzkMlDskrwlgnG7FKSWv/KdBtBc0DWi1c1iCdml4KigoPgY5w3mzlgAZ3uQCNO9cG2fBTVLmpS97MHeU69Qg1sY88hnXJZRrWVcOiuzMZaJj/cUWgdGrFdnNZN1F0gQ0mysrDbeMzI3wiYduzgBTMWCjbOqbIZTJGp3c3pKbtFlo4zdaLGsfeZfdljVQbeZ9Kyy0+76ITVOc4W0WmbnyUnA+M6qSILJ1rCo3xxfJTvqOPim1qLCZAzblbJ2Ip7zUyYfnX/4regPe7Rk/ddajoRCA61Ecpo+AZGdRN/sA3CBbHzEzw6WLWy2QHJIApOVXndV6zPUKtJ05KxDbsNGahsLLrcRT+r8lbjhckodji8SYA/mjwx7Xjejz72NciM4K8P4AyFOqdUOOCKV5tmfFiy3NIdTuH96q3gRUHzU24yufsWvn63InvfaRdV53cxOkpilAkVmM651tImQ7XiiBwB/klqHh2BRWgTcNwQHEh8A4Oe+AHytibRxTOr4IXH3VNaba8kA4SseMyYtHm1UacJkip0WkzO7R+7VEORVqbqxBltBuC+sYJNm6VV+NV1aL/eLUdvyKV2BmfuSuTI5NUAr1jAhlaeCzrkTqhYtY7xGOWySU8tivPWp87LcK02GoTxSwUWZp19oImPORjNW7RnTe+oe3xgwvsQrIatTC153o7Yq18cIOEy0uRGLktw2A+izVGy3wWyK7PUATnJoojrpWQBBYSrHr7bnjO0lyw60Oz2/KZ/akLBtCXtmMK9BY/WjMSHXR5g3d0cB8fqR8nNlcVNECW233Am+MuT/XAaU6Vk7vY6efheipAfjb5Ie3svldaLIQHoVlxipodNJahT646qqwCnIp9ygvb0J3Z6KOT53YohSOGtcEl5bvwq//rdwIi5oOlPzBovOpY71lx7qVRfL+xBokfglbhbmkUuKXFpyMo00ndZIEEXYPHp4wz+Yvs+rhWd8rIVrG1xcqID9ot0D7n8Bnifro5cr4eqLqyLlvIozs5zeKhTxcaDh7FelgIs2NK5zNIVP8J/D8SJmxveEeEJWUBvrdGvhfjAZm5xJD99EIOq94mSjRpdfn+mQ26IG70OQzn8ToawrBdyqWvWOA94rl4HWhsEvI1TWuNA/zpF47+lRZ+uduw8akx4SAjieUZkDPtVFtP7IwaZSLnDXjaTt8KvOThEvW1TQRGqzHVew68CzpaSxGGY+s8vob7tAzF2+mPa0zWNK09YVVTMOJdc4lMF1A7/qU5ZjTioO9olNUbvuc+nWDufd8+pJ5UaOJU05B1VYlQGwWwvzsU+RqnCG0tIsX9yWLW6ahfFJrfzCUQZSg+rK56/f/V9SCZoz/+op2AyV6Tk3AMa2M6MRR8OPcnxxZGmFzEShRimhft1wAVDrtZC4N3wRHfwxEmcbOVkKb1SRrvDoOpoklxsZ83T3YiZXCUtfySOU5hz2YL6RGcqSpc5MDZCsnFLVS5qSnkpY5hsA1580ILgGgmckrdHxcb8raC4tTXMme1tJ4TUIST6wSLF8jh2vF2lQwJ3pXG4vvce4n48RDq7kO5cMXr4bpN8FynGMkUqDgzNFyJ1FxGmRDrkNhoAWn8NTN7suWiak30MnamsdxrcyPYK/ZfsVljUztPn0tGq1RfYPiEMXejLTZk5hov4GV5tqDiqFMx8naUODrMdUw+8/P8zUTv/6yzieh5eCvb3PtfLvHSynK/sy8R0bSfRGZHkwpHG3cgsBGtk921ugsdAIb8sefM0W/A5uId8sEQPCyAPA9Yn6JZQ2cIrm85/zJPpMNNYnAzKgNcjAUAq8N2tOmHbB/i9qqVzuweZX7CpZdjBe3XA447t60dx78XpFfcNUARVuQGoz24y0BgMUo9t4Bz+l/ivEovNkFMRhk5DfcdPPPmSfkTIXN0H+CsYNvL1uNu6DYJB8TD5/6tRfWoUvu+DC6rIkDgpwsF1isV/17VNF1Cx9O+KAjuv4xaTz3p96kL5Y+nC0OdBJQmcwTwsiRpisTgxJYGgTapJRJgzTcKP6hhNdMuMS3SwZIY20qh5GgFuyuCOrxB+Cu3BKYens/eCjcmAjRDeuPVgoJEAzYcKhS9Hz7a6acU13E3Kchq/neSIEd3XPTseY+5hWOYHf8p9jdov4R5RUaq4TCVQ7VM4SxhA5Mz1bkmAo8KVRRkPvdcitHTTqaGqjLMHB9zoOUWfVVG2v0eLWFMRJ/rrPIZvnV9ILqTC/3xnVKy2vR5JJgSPkRrobyobDzK/ZlR+boWc2N+z+v0LOUgNmVrx3oaZgrxHIgwKwmofq+48MAqJ88/IqWicxXaguxPKDqgyPGOzwkCCqgrRP5mT3IVU9vCnTrPSOnFckPXt941FgJmmPjR9sL+iDeIykN0FQb9qFjqzfPM8PZay9VWOV18mlHa3WEcXFu5vvQACmWPaTMXxHBREAofmPIYBcXG2VkEV+Zg2bv+7PG3fCSP68vK1tNABzdcgbCnoAq/NJwcRRgz2bNLtMYUPoaI3z8RYkDp+pGG6lc+e6ABftrdavWcW8lBzIqjf9zX6ZA/jkIisWkWePp55g2lxk4ip6PY4b6oGRqqbBijQhZ9jGm+kWYyd2/KUZtJLIYvH7s/CelLHKTfFiOWySE5MkEFBJGiL7e3lK3VpDoBWG7FnjC/luzMvrgdz9SXCxgoOsEDF3zuYIh5RAxmW2Y7CFpp0op1A6lCFpaEJw9RgaDD2xlK9mQVn5sHrlpSrcvgXkMq40uk91CCfvuIOIfGdExWP1EB4kQBMEB/R2bftie8V1obAca2fhWQYXZtulMrIjmLUPpAx0lFA23TiOTn//5gc3ewHXGe5YUjG+IfuDU4oYm9exeYHJpkynjNxQkhAiS39ECbrCLzXzJ4y4hPMUA1XsqPjSvg9g7VUeai35NWb1UnBZtP7cP0EI8L83rDdgArmoeD984pn8qed9BgkE9r6IIViimtYhPGVeu4SGOES+2XFTRlBh/1eueDXOpV8QY6tUBWpVniDpTvtwCfn1dokU57BO3NAEtGXYVIhGV5YBhq7z7kYgfPjXVNUxbrt7ELsmek+u81t2YII8qCDhk1deDapukuHwp+BTdJfUjttB1sD1sSf8inNxksLm5AQz1S4LMq624k/j+Suy/i6VyREoDd3lYascF8pCBirQXZmA584JvZmfVhnzYXV4Xd6x31bxnK7MUalmyFHKLZ5jhrAPMrPhWInUckzO63HCqHwI598Dk60BfIhJBSg9MZWHGoNbrZHqwhCA2z+70++MH+Vf96hsB+zZqyBvDYJASdbbvc1u46WFm7OY6QHU9bJZeQAspKz//L4dO+arCnfk0lk3DfKgGAgxE1KiQ41b24gnorAoCbnJ+QNm4OMFB+qDDVt0suM3QZhxdVuUkh4oWPzlshKFOBHMe4EDpR3/9bTyXrwQpK++sGQ8G1Wsesaby3syFGX08qQi7xWdDUfT7LuBEZ3LzDHUv+B1qeu5C0FStF61QgKfrK6sTGPMbOME0AYcqULN9ft1t27k5HdJd+8pqY2Us11rdv+C0pIbp8Bfwo92YUjYe/MqHu3j9/kJmRcnzD5QsA67JApS7kirNfRk1QYn8diMbNO5BxhRP19bTboN4B0pX5bs/yINqVK/7jT/8aHEhBUkJ+FPIcySYTfohHHhhuyKwQ/ZwwvVJmxqPBC+4hIVM6JXkmTGnZnHQc/YB58cX5vu6HBlvf2zgPwVxo05w7neMdkCW4HxoJiTNe9jBTIWiszw8Te59aqQW8K3CDLYsy+av068c0boRE9i/dpbgPaRtJYKyBeJ1507PN/FD5dGvtqayjhf5W+nJMLjOG06FQ4aLEvzk2VW51D/QH/YIZxyecyO8Ch0pVGV896Q35P3B0PiZS71AC4fxMgNkwCmOG390KZzzIMMHfOSGj6pJGFDIIxlCLtniYvq2QVM1kt4KxKnwX5Abc6bvyr5CYZs8Mes4zAovZyMTK6YLavAe9umLxjWfAlY+buEsvPf0m5noLAQIpglEZyKXM4vwd1tiFm81QN/2gU9Ydi+rS/B7V9599Gmgerc/mP+RfcpHbpXLz4ijiM43Ip9NFMA44y/DQoOJm7mvElPorGmcASgVrxSCbyn8VdW0eY3I3UVRJ5Jl4PpnZ/4KoeDwx3j+CAQhqYkVyAZ9J5M0y8KL9hgRLElUrjTQBq1XnaWqvYLb6gbLgmyOMjzGyb6gtxTFdntqlMonmP+x5E1zGQ7Oo8vqeVwdfQ5MD7Uh6EAiS27dyqkqWEf97N0hULjSevo/lECQpYK/30LvnEn5ZelxSLWF8PIMNr/bm8bz6HE9pZmhiXcmbNsiwHHduNC98o4sA+IgylvJYClugYJk+3YLEnizyygYFn3T6wYsrnGV0KQZYc9OUcrBLy3lIrEJntvZjx3nXvMUQTnw/soCmDk5aFmg+sxS3w80Oqii9juNmr2pKOehjpMFyE/hM6bWzGMUbBd+JqpJ9o/thukDlkqkbr0De9O4cc9tfiKq58Lox9AOLqYEdBzgLH6PzaQpk7tO+lf6zglEqICOotFlsEgFmu/GHOAU0BMnZVi/oPo7CQsQ4tsjJc0K9u4bPNP4PUqAc4rjGqpWaQM8I/hOikvtAedZvrecLeybl58yRe4p5UfxJAQ10IqHSxNozG6tgOkVDGTxHwcM98oSjwSDLs59PklXIRvwiqXJMKKSkzKW1OEuQmdI6bvopWoNwXSZKC3I7hhHvjWH0S7w8lAx+qH4cnnHmqFi5G59LGj0Uds0noAFBx3v0vTR/9Yq6s5jlSLYF6ThO6klZm0PmfzYqo4JhEZBr45dFBGjZAawMVlNg3/PM9JCR+p+ilDSaMtbjSTgr3QfO59uda0EfbCBmkB3jQ4eWINNiBwuiMeIPijxNKJk83G5nKMaW/bbT/VKUOKEFDdqqbxiPFGzU+aOoWbeGuIDfZ2TmLD4TlTyHtq5VZa7oksKqGWtOpblryZ1do0hdkVZ5KYLW4v+EArBEG9HWlhjctQI0bEq/V6/WTrlGrIFNEcMt7ZzBvdQr1Wa8foIb2QqejHfYzElSIfGCwUDS+WQI2mwZf2n+DJN/vBFxOjInU9QXvyd3A/rWehqa7TBmQtTUkbRpyMYf3a1lrEfkscXtALrQWPtNKEYkEDlZNFjy7gZyzq7GV5scSKwm/M0jowZ+1SPyptb2pWSFu9ZTug7VURMy64cPRtbEWCkRj8Su1gl9schq2VS0P3KwhYqua3w8hhXGgGNl7JrqaxIr5rJLYzYQbRe11g0Ho6/tXt5xlxHKhRiWTe9xZ/sQuh85QzM7vs30q9IvYJJVSfay3H58ovmDThPjo5GYaybhNYR5doG7Ug3sE91FXzamfK6RVYpuukJ65LcfgLhf1ITlGRNt2wwDtlSY2fn6CKTwWU6x1wjB0FT6oMeSrEkORnH8h0hPA7kAs9QPrAZC6D9SGcXftJJo32epn33bj70/xc7R6+sx9rt6aE40uZqkyzKLHQrc45ziG/lY0l7THp49F0ySISplH0lZCJNpOA7X8jQQxomO4j6/u0jBwAGRML3wCuP7NkPxVV4dQ0DBusewcXgVmUzxQ4Tu6anfNCrFgB4E52iqtrcIhuI2qtR9RSQW3Y+UOSoneklr2/1YEZ5Hu7YEx0+Py/E0tMe1YynyCm0G+V5Kxn6jPsuGetP9kBkdkIgdPjBMG2Qw5RVHB+ggFRIDjNCq8p97xX3mQ0yM2DBF+tZ9mP2c51srAj8FT9YS5xakgYON5MXesjrg0VYO3SWtTmcUC1fwQrbxTJnMN43pi268xG/yTrNgPwBWJ+1GEI6P9XmF8q/o9q5vFI76Kgv8t+KNsIlbdaVfB0v8+USGZGqGs4/M6bLVx5/6SDvIWn/+HB89y9IKTlVu7UkA35fjiD2WL9bTTYXxhxd5eMeXa1LG07KH8crPoogag1sNEFMn9tftAQHEEybeWQslknxt//kt1MafM4I7YQWpKs1m82V2A+LUrg/tl7KP6YFMgvyXY60GhAstSYfNlH3oO2oTEkCGPSwr+vmOdIM9dIA23DV9AFzga98BYEGmUTkEommLthb9PmldP8LWoXpPkImKL3DETcCAy5RY82wnXyWdmY25au5QcSw2lZs2qTSzSqO1n31eSikibUhEKtrtgFIScEC5p8iXbX1Yxq8xFc5ICDi0nsrYW1ByAQlciVKAqFtc2bPJ7DNSOtHC7QtN/oRtLpHsxhF4IRnM0RITs4LAdcX6t/D8L9gyNtC3wGgxt2azyA8kZcBgY9ja4p7zKJLDhyzBfy8GBKwTFDRKIlj79fkUr64CWfKJqiTL38F2Ifkzq2d72IxUhSK2DUvEwf/A/eQ23VnGok3HLX3F86RzoWAWQr62l15IJBm5X7GQoJcQl5XnvRtKPkUKHWXobsQv+rGzBXgpqFX8TBHpvPuH/GJ275Urvt/Myp4FD1/WvHqzaC2r0TpqjJZNuPI9QiMiDZ/H/T9h/BJLeht8fzjZ6xt+2gocA33z41EeMxGmgSeXTc7iJjQ0qDUaadhTXzET0AZvAvML8BW+qI7310aQvvQCsMieWQV6qpF6D6xoD8vjrIC1ZfxY+EcBDqOZv1lKi7uE4MpOiM2ptTNTSycwIEOTY2mdAHXW4x2emicTr6eG4lxcTAaXllaPE7j7wcPs1ZsybMqnH1Qrs9p7YWs+Ig2veuVk7o9PGO9at/04saxvkHbhmng9avugbtn2kRWqUU0uLpER6YrBVsHnLeZzACzdZLVWJO15AZt7rZxQq07mUx7Y+lemv3LeqXvlWz2LoTKAK8nqmnhUiKxMfE3gOAbWkMCQKLCvrJSmxvCnjTWBADiWUg0g35yf9SqGsgJUUwuHlYMKuR8LoIRUvlN8jOs/cXTZHfML050DpCgVZi4htvxMUWsO5mQDrGBKlzDhUUX8BbJnlN8uH1n9aq1jd35A3PFMIcBeZezLx4BZVzLOXEuIuZdhjqO+wT3dlFrpYL9ae63Cow80C62osTCWoFzGnrM3V0fClxX7OYSBN9W+a85yTYQ+3zeuPW/3xuKgg92oZ6fXS4MNIJRlJVcGsbCwuo88LthCTpVxN1nBFhTSbqdVVShq3/Zh8uMjrRJHYQgAfYOwzoYIYXZmGsPf8CwdKdrELLcMtBhXB6yxVmAO1aTg/dYtdGLewso2mFExjb1BbtMm2geRSLDf1ckd40QdBqHxNRPbTMEcM//M3YBmHv4ZhwlKW8fJAtecEEqyG0s3Dlq65gwJJUY8Z9jDvVFjByrD2JoApZzXBphy6B6zK9zUUavDvWklGrxcglpeo84tpVDfhghXVLdIeav4Sx/LSn+NaWqP+FENuxXvpiXx/8eixEfrn/E0Eavbw73g9iwc0Mr3P2GTpTjJjkiLNDHt/s91208Aru974pWdeJ+8aUpzDhckRiMNz5TgIhLmr7aCELIOYyKkOfmPuKGk6Hfchk/fqxa+mwsMM4qaMZ9I0A73Wguwea52dtZdvvgR196LJHNX1fSNPvxB/B9g2MNhPgvrQYzqD/Ov1xjCd41feg4h+cllWQKsoh/EF7JeXu75FcX5w9XVAuxap7OFdxDmCJgtjLlMgPui28WeMH8rnLYDeKelmFGfP4y92eoDS1x1X0ruEgX9/Kb6h4Y3P2UDmAzXQkIYCExDBPm26W+nb36k1Rbd755KUg/04bK/DJK4Q1aHW1Zn61vvzzylkzysHDC66M39ZJgjINv5bPTGhZXDpq2SEG+YZVJHwKbZum6nbhCI9Sgt23PUyKaBv6acy4ceIfq+g3rmMvcnsCvgcTx8Hc5iD5X6bxVUULLp5tfiJ5hMsCk2n6SY9GoTh2LoL5s3Lz7aNf4MyotrFBUi0ZoqOnhUoyPTDZzvY5moEkNeHpBzgUUyA30Vk9MnaSdNhcmVDuQoOo91mGTCE14lLGDJsXU8pxm2ZkBeTdXQDpRxpsuUzLqTS3Zp0fZS0CS8dl4RLk9g+buDMr91sZPje53V72x7Pdj+NOzDhEzpnt+8L9VA6ehwlGejZ/4oT4bCzWhvKnDgSuXD2t9pYIjGp6qvp/mznOGxj6GusFtbA70H8pqoIhU5bQmTFtFtXgOb8C2XT1qxwbkhcfbwH6Xguqyng5j4aYWD402OuewLgTcgRDStF0m7VHqjkuiY9Ys32A39Kbhm2Yw50CBP+GUhMrzgVBmOZOkNPt+fKt9sibeq0x5y6xRq9axdINZ7M5ZF5KAvZ2kdQC9evyB2iDM8FCvm/Zokl44n89bPwjD0UbX1QAFkmQacRiZFQ3/nzTUKwXfjr/t7XEXNKU6+SoeBRASx2tTNEMTO2R+XmbGIUiMsk+RsSX8HUqacvSM0B/FlL59zd7yUIYtpMk4FpJ0Xeq6QdbS72ShT9Wjp3inFSJvBt6JTEmVoHUpzbOAOtrpuPWiz5yK+NdPf/cxML1mcZcnKFwaMMqWcRkBQQRRlan49dASGsSYJ4MRt1cx5iSFIUb6pRbYHKB8dxLZCKZo1alnkkKgF68w5yPesdaE5R5EG430Iov5+RbTvOKA2hPP+9N6/gODROA/VXEnrXd0tsi+PAGEOnw7ClovQrjovDVpvmzhOCGvUZzBta2Kk5Uf50VQIoJItQoGz7K8tobCQyijjKDFstyjDe5hc3Fgmm/0z9iopQin8wdTH3WLrltrr7+OihCM2enP3i8MEyQdS8wIFooJ7IbNMjvvGkENF+H86kldAlBzVB43zTV4EzR1ccLUholNP3uKtctxtukvzY+qAtJ4dfDC9pwBe8KTo2RBEh1389+cOzZrjihgcowI0dz7haw8yBsvG8oWVRUddWwpWVtWLmeeIL4x+vAVxJgdT1lS9sQblPf0Nj12CK6u5grKiypRaBCS4iHw4aHeGfBWPuxr3AmY/mMeLBQw6ZGUcR5liouVSwIIv2FER4vlOT709t2HJ7OSaY/Lyp9s9g0APbXWW+BD9gS4UGEWE+LB7xAuUCiUdKtXsKBMav8RvZYqiuy8gdrGC14SwJKwe50uq+2zZevtMezootIley6oy6jjl10/e9L+BBhn+4msqQ14TVTf5MY1Yt/p1aer9SgZ0ymhstgqgbOJ6Zs9p90WbJ0Jx1fSftCSPYh4LSDUyiZ3UhyAdY5z0BSAMxfF+kNYwaDBeyeCm5fKwsiTGoBXez6AbzIOEGouUd/yMqVyvIF7aaoArvUOwYaNkdZT/kXevTkCrsSdCfVRN+q28sNKd4QoItczfaD6ahohyneeazhPr+7PMDTTkgQIkeuj5+k2rHfRGdfgn5277HvbllSg7Y8ScA+mCG+YAMtFdwOugAEN5zXKKtvDe/AZCMMU2N4uI+AVHk12WdkS4GMsOFNU3+QNZ8NWeEqBl3SHBV3Tj8OnK59U1SxQ+nzcGn8aqfHfs+ShPYuIi1KPx5Xnkz9nFEsBkpCum5cdYhc8W3DAXksq9ZgaeQ1lAsx86pu/XtSqCKYgzQ/MndK/TZrtIACLV+04maEoxiE7toKAEsK/9FRW7Yq/I3qtnhAwvAv77Wptqy3ilmCz4K6MV9hpYBkpSCOY1zZiUgY+CxWoGYD7umwq/47uPkCyAt7Hg6LxDt8Puj8vWe6XcauHcNn547q9da0sbdUL58gj97etVEr3qVBoagJ5j66M+D02U9zgssGVyOkGbTLIt4fAeoKVm3J33piz2xSzMKjsRd1fZzFOFKImXRk2Bj3o0w8+oGLeqx/Fe249ljvFQ0nsabhTszu4tUTzbxP6gLA7XmeNrSX31g+BvRL7ImIa7oqzmZrDo1rpkQCbgRbYLt4vf4KMy2l3S6DAb+sWji5rL9p7eLOUGRZmqWiu+zDBTxKSahAo6GlymIG+sZmrbnj1U3C7JVRHz4KgeMtXLMPZisR3xw+R9OomNIXqzPSPjtVGLAepuyUzSEx+cE8XKLVnRLd25l+fQNEw76alVVVAtabBn7vs4HoHqANkXhC12oKlp6UHXDIVWcMjOTOvBbOu3hfd0KpJT+p/syfMLRWxw+Rid6VgNdIv+rdv6IowBoH4ZsuDKOurz5vDlbHHnnP6xFyi53xWl9azb+Imtun+kkubx+mppTwv1Y5RgkOjUl9l3jtH0bx9nIai5v6O/R5Hg72ocTEUvnNh3ngq3+VFX5EHsBAN17wzbxRdeHv4YSpgV8qm9TFZMLSMCafarhqazfxOgdRH1JB4vRY2zszABewdYRNc/Kl4UrEovxU7DgwhiXUC3V8U4HjqO+6DqJ6zAf2Lt8tdOAmF1a3L02ZZ2HEl95KtQwwK5hglmOzzDzOHKkkR3WP80gHQf+jh8WviyqXxEJ9wRtJKaRfiCkJzN6GOwSiv6jj9AweOHKGXwxrN7T8AujYZJESlD/FaYDQQm6ii8InqLWDJE6qrRcA8uBWsOobRon0f9DZZPoi48iPzKqOyykNsYVEDj99GexdPoVlDWn3+FCwCb7KOO4lINX5rWSaKVFiX/HBxQnIQJ/obRaCeKqCvRfD5lLP2+o8Tgy4TvZHxbOZxhPOjMLqvJDqvkWIm/l06yBxzzbZtXRbQwq1xl092tCb2VmkY7IX2+3cJsKHKvB73FfnDnsJnsrUWOC/2j+fMECTXHR4eMUkAhQiIirEN8B/zXVH5q+DYw+j9HSxuTxqQmscYWJdUfl6u4r5gipDDKisDdYSn76QnPchcB+Yz8n0uc/nGvPOPwdMF3716z63PuNBtluUNr+zOx9SYCKX8g9xn5gcFl3GiQj7Yo4CkbngGNV5yjAYeM/fhp0wvJECLMiJMYxokMEzXYqZdjfhFAnIqQ4rQYuCYMImmzlBsCRcVdFKzRJVuRbQCHWLYJI/YYvsu19gRCKXGG/KxU3VO/DTaPdTa70hOm4s9zuVroIRSkKml8809ArdB7FkFqubkA9mKunNNZO8F8QuDGEvX2e5paEFINWIqkpiaFfOnjSjadwynb/Hj6ZgY++h4L0ZmR26O3JzxkV4kZaT7dHKeW42hdRjr6t/8tEuHf36Fj/egfAirtUMiPi+D6et/Ftv18CLkKg+3pJ7B14xukEaZB2EWmbM+CI8D1JU0E7iQDsl+v4v+I5TU8kgA+NFfxmBEoZBiHSOkXsEu3FOXoGcIfZKIdXusB6SFewil9QIWvSuEChD46cTCvfxFoUvedT1tTT1uJf6dTkpL2M0oBcrXR5YkWTxMzD4d2kNldmK/LVGdXv8/mLE6xFAinFdH2EDcsYLlORjVwpI90S3CejLYkh8u092qZgph3i69KU99FsJbwjgB+rvt2DBHqx7byLFtC+QIcpONTaLjedxnu7zHyZgfbzisPLtqloSkEQUYqLlyR4EGL7cHUVkaNCmeGk5/Pf1qjEe1exKB6duUylZE90Q5uCSQ/x6fu+xUaI/HtKY8YlR5gXBto6DDk7HsFhPBnXea3McNBtTp0ij7YWFtAV3/GlYJSpjWMMNIKp35CHuAa38iDibdWhWlD8vorN+94bhXYFGEs56mCKhrfI/kFLFfu8Af257Slljn33H8MGYb8C77vzQ+Yj0acQP94BZWlIAyPFOf1kS/Eiw/5A2ffEUA9pIEMbLBJTNNsjZDaY16gjblXpZ1FcRG9ktrX9OFAtKD26qc0V311SbiiEJHqW6Gr59tLopOzZ4aTG1Roowm174psD0+XLrMuL0KTkY48Kt5GOmaS+A74bTeZauMA2iy0qJrcC5GiPWedcaByiVjpy2X3ADS8pDGPpyGlraBl2nLpNKo84ZGHcv5QWR6k7Q81QfzLOoJ3rKE/Fu9WfuDedeaRl7dkbc0XsBJDsrCpHq7kvgP5ZkExHtcvUjGcIbdVRzPD9eMoBLdxDnxM5L4Cen1VezLmf0hXYFPKA/wbdIT7RJQryfynyCK6ylSAUYzhBY+LM5nOEsDjMkEg2mN0MbYuJG4pvQ8HgwBVIvcw3YQ1DPlWCG+l1CclT5NV4L6tZxrmVc3uceavUT9LG0jcGqm7ho+MToZrywK0VIuwP4/u359vy9FHK7dE1ACYUZ2zHgO5aZMztOkUVaaX9aKJoPvXXu2h2jLVjPIuoXCcTWI5Y/sWB6wvDcNMsiTviWNhhoMHCtW0jIyYxkic+iGdiVWyAFGakxe88CqYzzMxtv9axVAPh6ImQbajV2wJemStgLQE5F1ZUYV4zvT4AliqcatDl1UMEFqbjxHO+nOr6qTTGtooywuo9HIy5vPT+x6vVZN1c5F4F/lLL/nan/AW+UNPr6ZcuOslEl4IWPsm5nS8dfzUNpxgX+1UTTrfRUrP59ncnDdRsWgnfIMnQsIZXycUxoVwtUrbT2pNOB26WUwRDyTKc9MM5BPp6KYVYmCPFDlvhfECUmjOwl+ptqtuO5179YOB9HlbWj+ImEZPbTglCPZ6trjw2Ma4cbAUSjObngv2UnEXBASZ2sef4O1sCdD1DNZ1U0cLKLgkJC523jNlAXhQ56AxevYz77PAMQCJV1igL6SlcbFUwZtnTJ6gP3fxHEmPciFarDYW/7J48XWEmdM0urSit7Rk8dI1Sjri6OxLD55t6YDE9bfKHnx/n3EQaOQGraNADPXq+YXQSI4gfe87ROoYYt7+ObziwcRJv2YiYGAWt2raBkmxat7S6FfIWfBaAwkJaOQsBCZYG6fZZH/QrXm+DtRoINNzNPl/JHzzqfiaoYNu+5B4OCBMekRKpneMB88/SH4R8u3+m9y4KMJyPoT42bZJPF78cpaMyk2g4lA/y+uAHPYgovuVjvsDuoaSNuk/uBRgc39Bc4s6fSTbta6J5U7926x160bwVWU0YrmyNXpbIMGJgX7i2y5475BlPTLc/+0FxNl6xdrrunoufIgSGWT9WV8rrXwWpKnpIvvlIT3opBKaEV+ojL+a+LC1VdFsj07jLxm5DCn1lCl8QtzMZ4qgsv25NuONy9ZCImuFHJIfwKhyZBm8/eRcRrkIiLd92m+2islNfDkwv6C4nDm31OUE2C3VCsdhwVpO7dX3A49b0TNbi11/40E8sGFAvjbNpapMZzDS6vseiMY4bQkjNf0ScppXMt4MlKlwZ4z9yGFUMRG1qT1MaWe+4lMZGN8bNAtsNEK2TUinvQ5fQ0SkP4UIdUKYJIi8T+SZKYLCDAsHhJ/iG4s/PuJRb8jDeUwHfRNWKjp5aqZfMnCa6ASHeB6F0JXRhlJBmdgTXM6TOOw89MewPSonQpXdly5QiOQmjg4xm4vsZDn9Qg3wzWB3T4zl+ysMVVdyj4mCRd/hR+WtISsIhlIaogwb4myystR1EdD932zlbWAIvAo6hnGIiLxSWg6A9iVTmRe7bfD3hSuSKdlLpxmahyuEkXVpP7KwDniatXl3jUrk36e7r2nwGy+hNNpotd1YHlrgETgwPMdpoZykgVkSBfzZ/PeJpt+iX9mwf7cUg3xIedn1yxqqBQK5wP8GaLon4qREOC1s12PxpjICbnQCIeFFVEU3C3Xc7JhAv9pkx28di/lMSPMLDFvhUtiCgxCW6+UIOrUachux7Ms5ET10IQwKgvmCv9c5Jff+7ENaY0/zX+uVOZ5gvSMkmJ7+ai2PTZ2gtkpz3L4t4ACD+HgKk6Qot/6g9q5XMtJOttCqEIhZmkR37R4xsoPcbpQBdES+2lHSX8rk02AVOYRgsoCDQm3Vx2b27GKHjGH9DH5WLfVJ4Hn7QSm07rkLkRU9TinvXeEtT1gIslAP2uD/YByL8Wb+iP8HThe1+rYbRNNCAsM8xyFevCmb4bgmCIRW9BsbY6g41nZBVKDNktNubYhjv0O85gUbqe/t2EJvf7DkPT85fYtR8MzqQYTQVJU73MbTYareyIdMCB2o4WJ2eKWf8YaJw9+lKrLi7SdK+1gdDYedLFQBHHm3NS9FCmByQv2+ukBR8xpwUu35DhCRrCdhAi5CiOponPhwgB+Lh5wNPRBFBrzwTymq4gKiDIJtN2Yk6ABxZgdkP1EDADB5DWsEj+pgD+E+sQ2i6+33KgmNv6aWFsIJAjPaOdrcyf4hYKT50hMV2tCDqfaDFCm4Lt8f7S93hHoKA2krmHNp0zM9O86L+xGe0ao+8o+6vl3w5uk4IAb5QopGlawXq9iSeFHcVHueu5lpffjMgWNFg33TVDLeXFEYnMuZNgGwtNfswBY/S7GffGJPjQmCAuMeRvn5sdpYAyFPDDZXKrsK9ruzEm6Qk3IWO2/tVzbOxOpzcMB6JVX2V4+zTLRBnan/NldhnsUT2QmP88QFOIiIzFLL2HoVUj1butDm5CX6WGjb0L/1IDQ2ZnyGADykhd+L3cDVvDC3I+l40dqveDyZm1b6jrK07IcJOPp84LI0owm8TyXXYMAAgdS70yP2aVB+MJLWq5k73OCv+TeE8NcUv6VFahx3hyKVZ6mEZU4T2HonNgLRZhyUBARYiXFngM3zkuqyZ+w7PMetBsmvzut0lcwfYa8IBFzoyoDASatHY05iJBmNPJc5My1hqVHTHf5yMXtwp3+h0jMtWPpjqd58ctCQr9WvhG/a4NFCpXjw5VtT3WkEsdOpsOdZyYNixXlZAtR92Uj0LfI/smCPOwIy/eLIxeMH729iYf4xvtcRv1Uj+UH39t9GdyPAfrbXwkzw+cHVyeyWnN5EEpGVG1AWfRULQin9YBufNCO12W0C5uPj5brUcBA/NHOmRj8FinRM3L4MZuAUXXoJjB1dKvtTSH07/92X5cJzGmYhyL+74ryJMsUJAsJxWbYbLR2lUdAFrMseR1nMBdoE+i0rcsgN71KhS3rptn/de84BhmbhrsBm2C0A/ses/0apkKFqQGrzBKAdkkKSGjIQQWjr7IKuNmFOaq+DrIHvzhDtvGiVi//U0sDByQltuX2+nRWaBMQnSGdwZoSvbgBmagfaDIpoNoY7j+UoCJmrCC/r1BkeY/ka7TcSWRDr2TASZm0OUYcbRPNFZd2pPoeg/GsC4erVywc2hqUp4c76JzOTS8FGGyappxXne57+duED4aJ5INdBWUWKAsh2j76ogh1SG5yS6JGPoVTqkW6iMs0R6JMdQGlIBftPV8JW8ZuewYDbH5y7EPkqwhjS4+NVtU4oxojLW9dznDWFFSjHAPfUQDnn55OJUeki+qeUkSCksHMZD4GAUf52YHXOb0vN0V6AhXXMucT66MdxjY7BfiBGNfUQM2iAdrHVN/GZkgbedjVNBWTWKTn4+70ydjEez9ciTN4g747Z8skKFEDu1NR1HFhKveoWdVjRoagwQUhYKXlFbOBKxpH3s4eUheoKS58AQOGFZzqd8UV60zQY8CnLAxSmiiyKdhB06hCaXUAwX6TuE7/zYk4gpdkVd5MgzdadvCTEl8JpevjAnaPMkBE/tSxCMU8Lr4rqLKaB4lmV4fTFirCbAQUcC8Bg2ppaJVDPPCxnrsfkYhdi1BBD0KRi23/Q5SBZ5GkEXK1uKbzYU6QzRhpNBbmGYp89en7NvtE1Aiycz8iGR/MHtOzfJ8HbjbFhnI5raV66/zr8rB9mkCeg+1lXxHMeWFwqF1V7VM6euro5VcdaTDhbtBKnrc9kc550I91ofYccVEsksbFP0JwyOf2DBtBr61/LmTJPx45jDqbbbzjExYd5M9t9Kph3NiKTa9x84wXgwnhJpFPNFKsG6QWkUMtImgntrmSLv6fK85GTboPAkwEcvo0mon/J4ji0Xa8IqffG5YbEd/M1yZOdTJsn43rV3E80zWYfIP8aVJfhakz9zs+0PBs00gax0E57LJBG5/cHcQWt2AYBGJcNS/HrKWY9DYAKt8YUslhVF4sm5E9NJz/t36Y918Mi9oZZHfBjc+DgepRohAlB1/xbaAE33PwVkXgderMBMvpfhRzwGDptROwnR8fm6y7uoXqgQoIYLg3n6LRT6tFp8wMeC2jQjtDsk4mxWGtFfV93u1WP2N0EPYGA4Eiar81aZhz/o3KtQI8rTEFnEWb284QLCZlO1KjReeO2lbkUEuxje3zSnSj7w3zjX9gTarfVW5ekrzwxZGH/RcjGhlMkgmGjrgUGn60lpI6lSo9pUDZcrl844LjtOa6b93TJC3Oyzzzzq45pfc5IKjtSUoR0jiJ/bu55jUOv27NblmRkJlzkfM2PE8tyVH56FwAaCy0gf88LWpX+6S0opXFas+MQ4652F6r/kn6Qc74zkZ58rJi8qsHSQfb7UlWkGeEx+c+4g7qsMm9Yds78k7Do/xpAnm4+J87sHI4wRPp6LCuybn7FgZDoFzuMMJ6T/EpKJO07l7N/ODSGd5aMx0iM5TdF0eBEFd55/amygHif9U/0RXq2RshJRYX6wEJdRzs+hltYgndeh0aCtya2xpk7RKgZtqZyhzjL+KyUW8GwLtYwzlKYP11rvVCnFlFWZKqTdo7xNUQZ9Xqq02SHcrPv5qqyMoTeeAGl9amJoELXgUEir2v9musoZBpExFI5PEbXk89tyGGya9pOqMFqPGvj2CER85uw7iKU/kl0Rx5XKG3lBP04STyk8vs9hpJoK3mxV0Ct8MyoodvTU1vbFY4/CDEpaoV7FjVEL0rJ2WyyxRZhPC73W3QlR/IaNMNRDtqV/nrpnmaosa4PDsNGNCgymmSMY+FmAeN3gTgEipxor96g5wrr2RGJZUfT8soGKWUIgqnmRTPdoDjU867QtmsFocobBLyduF2x4Sm0wf2/QiYRkCtCk6WIS8ZWsOjHvnKldyHX907aJemCP3pBWoHAvBAS9rtj0RvwswHwCFTlGIiraHtheZwiIq09O+4bl0AJGAAXPtrieByYsqn+HO+rCUdi5MBDyZxx58IX7Eccn52S70DarOWMATW0kDIAjZm+BNImRm2LifP/wUjolsG4Mjyehc/258SGAmc1P3/aNMM+mE3FBMaclCMaXqXgsyNxpVJvl8NeIO3gRhfrxYzPyVpZAyUvYdKYjTNCDwCA2VCjp7sNHFTLetduHOk3p296EMXq1xaTOmZxwH1QG9h8+SKHkoL9w2XQINemMPA12jlOoy/FBYgw4vOsITz8HEAabK15pD7E/PR2dBBDzZN/va4ukURoyIH6VX7pp5e3FtmLMZPNdFoSkK96KEa8tCwRhBnJHz7UX+piBs9KQ0WVbKowZE+4MkLC0HZSD8VNH7NXtSjDO8/fg+M7t3RwVb63qoylUF2iNG8vkLY7LpcOby1HX+7jm82x2GEGukU88jW8mkUANq9nsHCk0Y8wYlx0OISBHWqmCv56Tpd/J91IQWGzqqvj66OUkgbBO6sWhQuXGPAoqjTNQ/wH/ygcxi6+CjvD50t0FhTrFI0DbOxZQ1iaNpe0Z/u5EoC74TUaqGYHuvOhfFcLbRBb0DjYEhazZi5KT14Ni0nfhop5ZocNdoSvxshinzAHEcZGO6DZUyZ9kauLawnmr4M4SjxrdirodERJTT/XLj5usTShi3S4krmzULAKCQ7w2gvrwapyiuPeUxJ9Beibb/Ob5Dm8rYEq8Rij8tWgGs4G0xj63m6DcHnsXaVzrWVUYIhRX7OvYhXrGnsv0HYrvmoOQrPcbsllRcrst9SMjnJ4Sx4GYfdQWFWnVe0O5WyuesvUtJCkOkksOZDOQnZdah722AQjOOBUF4r9EwMpZajdTx1lke/4+xQ6su/gMG6a+E2hU/sHdxJXjJ/579qkHILC8RtkR9o3E3ml4oiNSo2XrZ6lJ9LySjl0v62SY7Dk7DzGm/tf/V2pHPc2fnHNO0X7xiffbmb17Tyhx+HAG25yxiY+64a6WrPmEVdbqZ2P8D99zHGAR6pr1sNUotiK4IzzFrRqjZ3fXEvW3Yp2x6GANuh/2yhe+0IcFHJEoXnr9DzlOSJISY9TEMT5xtfWOmKa3rx3aRy8FouJ/leB1ROcKMsDzCYFtWGasluNltHLVu5twRJymH8wLj3zyeCfva/0Wq5qDNkyY5Q8LATGUwnNDkNm4aGD6frADdsHWUc8pus8GblejkZp3lq7A1FSD6i/6h3iKe56cI/Sm0o6kEiLahfH9YxqnEN02oSgt5ulGhsqT9lnc4V/ItoPJI29Ha173W8TEkdxDZzrMEX82aohXG5Oal7tbuAFGjEe+r0KKsAEhzp3sg11IQlT9/LFqOwFE5g4WJoj3b0v2eD9K1ZU4nNtoy7mjhpvPi/wqaTkB3KllhHjnf3N13ft2uAX+jD9iSawotNYHk1IpLHBAAb9Z3/BgEzmL1Sohfj8LTOIRlkB7KOTpzEsTq74y6uvXV/1JN10yYsYT6g8EMAIsQ12+fozi8hbjG7SI17YTkeO94maKgjtkjB9pKulQYfOCmWLlkyQL70AVN1DdNZPr3mreD/7yOAHSjwHKOeDUqbB/kvbybQNqC+NxZ2KNv2AyCB19mTSieFJUUValSPO3SFU77ku+g/mnFrf97y8jMsSOhg/GxvIFvQ0PcgQh4WZHHNlo7Q7joMPCNPeAg1t8Fg0WHnF1PpK/qsjdq6vGGC+f5cyN9bVVnLLCzjPl4pB0ynUeWWqy9Air+jxRHz4b1suufmDCfZJ/B9Qw6lxoxX7p29islSg2beTmmGZDh04sHTZ1ooI+bIQ9w864SuHPXkENhl2altncY1rNFaP9RCtE4pkcqJZgguU4MQvFDK9IkYcwEU9OEwp/Rj10aWVcqgOjoFrIDJPtur861f4AJqTJq+kJnVSwsTfU+KZESseLJhsGbY9XsthdWEjwBLk4MoAYLTfvlQD+cwcAegVAeCqJwIWtHYqqNz/v4vzMgFJyUQ269wKiZrRaGoQjf0ctN523QOPVIGLD4P+EmgaFteojDJ2KImGTSF1SauT4hIThxQTfQxx35cWQ2HuCEHM2RQcLuuywQpI84QW1MzRsD4z/C1gfvJVRhvfWY30BbvxrMdtM51JgOxI05wj+v9gZxW+7RvRqndCG5aZZmX0I9xAHhjYLgnZmjo1RNe5Yl1m7h2xqauhQ5vWskQm9LJIEwBFh4LDIfILtON6Z/a+82QqN8WzLZ73GxjOYYj2uM5k3DLnLz/1SqzdHJprZB3SP0EsbX9V7NjaQWta1lsODfKgh41S3Zps4Yc9nRHgDU299/JIWU7qC0RMBCJuvB+xUCWxV1uSC3EzjTbMHNz8j0lrbgPZu3qlXPwBE/VdmMcJoMx2UvIIE0wzI4v8+Xk5wmjBLTwwv6QEmNXqS2E8HmUOUSk257sYDkTbrL4q2yEBg6SuYiemeRMaDkipQvDNYiGuQCm5qFzWU51xNzpmN7zbzHTGaBvL/ajeh5U6MoBPGIIUSpSsbOz1LZflSyDiQ88UevllOQtOkGjY1DBj8TyvVY+WQ6M0YHW9IDAam1zKA5Q+o2c7dc2Z9sKijgaQMtTVXOBw7tpfb9/kxXVZ2drtFMCtIJb/1ht0blHNQGBvq5bnerD0XAANb0v89H/MU8/5JO9RpCauO1EfWUiuuyA9/OBnnzMk+ycZ5TPO1raBvfrA5119Ep0bpr0C5Q+7a3pWvVV6P8pKkbatXMlza2laaACMxiOVNJBkZoqIpeTRELmdIrpODRFkn6w9te9t4DLxSpTj32C5ORwg/ZT3S/kaStnW5+k3x2YRdUSGVgG2P0KlsQ2g3PkZF1CO6ietvH/Bl/ia34e5bopYTaNJWgfOZwRIQk3CDR3gSqTErRxX+MGqrdD9z/CUsaE6DC3DYP8P2XrOetPM/BlU/Bras5GCI1AlG4JYdAYBXFs/xZoPMwGDbgSloT79cwOznO0+bE4sLO2RHLKi7TEy8zf3k7Ab49W2E/MImlEGFhZcLv4mC3OlKMJMWx1heFHvIt2qPIuuVOg4KSmA+cjwbLsNeJOXtsjo2Y8JXgqnjEOJAU386JKD+54j7c6ZisXlvxXit4azI26cPhyIfu7SgGkgbsgeUZWjIRI6ssWZUogTRVvKo1Q2ZR/UhEkEe2S32msdURFgLV8JH2+jsgPtg9JFLttQnEMsJ4jzfZme3oax/MG+43BgueQG3SaU8yk3IaG3StL1LSoXcRlJC7iOdHXqKddgfa7H0HhUPxm7VdW9upvBmI5bodOxlSvMmi1xSw55VOUT+8TzZb5TdHvNQoZ89AKmjsPk7XOHj6QqhEBfb/bT9AJcKsz8mIrSn8C8nv0ehXspduSr36PG6cRm30UtJ6nwJs8CcBGQ4lyC4qzmxDLVq6AgsQA+G9rbJBuWMnc1rQKm96L+oOxhNAu4ty1GRhPdcD8yyAmNGt09WA25JV3RVJ4ERYKb6X45SOL+TtDypjpLHpwKi2/G5eBdSBIGx3jpWxGjwzxgAgsqEglMmPluC62R32UzZynQ9C6HEJC3da45NkD22pLxdMbjKtJdP/TTmAvMrUtoBC80EDE0NC3/xFvbW0vJWxRuvZjXhf5geRWzyIzaMNYAVmN7Qi6iCNbe7j0SHyXtOC0xobdLWe3IJs7+8w5tjhbj+FTC3UBHbkiz5VhwIvm+2iZNoa9Xe5Kl3qK/oMWgPSRh0vkRHHdtko9kbgb2lx8JylnM2Pf71fTyznF23GCi/axJIe8Eq2KiJ3gTuZHeyJIL5Q/szyEZW1Xmi4mDgDgL7lmt/0FPWTRja8O1kR6knUep0LhuJ9WatraV5AdjCwjqV4OLqmNar+xKdUQK+IPfBKLoDBVmQgBxOmcXQpxEUhCIG6SAnWdFnusBTS8OVSeQrN2whGARilE5lzICbKD61k4tHCt+w/bq4YRfDPh1JXnEIIPcmHRcZAr0QT3NBwTudql2W00QDMAU9htD3Ar2UE01FRpjdi5cS+sbX4Mhxfl0ZJj5QhR1K34qEMPVxbYkiGiliomMIW0C1Ljm9QY/Vnyx6t3SWAEaTwZ8odu/fKUs3e3reWy3wcHWq9hSxnBC8PCn9dTuYQ3NGk6mhLHX5pXMM8OpAz0AUnoNuQvPLvB3nla4Db4C1ysA0lfcanEBP8FI92WJmDNbz/YHtpCV+TlVG59W7oYijykq6c9rzfMQUic2JIvxAk6Ulzj7J/wYB8YuZHLVFaFzvMlMg00GmkeWzNWsEBg6KSq5Kt2XkLvlXfXWSzbxWPLVYyvT9Xnuz0V1CA0vDiR0p9ubuc+IcdwtOf7z/6Kyg3WoxcAMDkpHUKwTyqKmR2+nSVrKCZL/TQ9rOV64/j8NqkdYo13siKHEiP154146pfsnFTuvWyLi7NADCD6wvD3S4vFQc4KfJ1SnWN0ilUtm+w8yuz0QAb5rS7cXDKO84wgFV+dv7jl/1HnWPVRLlFPtOaOlwsXRriIxiBtAXMTc+WptVW/2ZP3LM65xz5imBbm8kfHjYrLuxQcoPNJFLipVFbT7O3IxgMzCnPP3Gs6GJ6v1PRShteXlBiqXikI5OzCtQya2yKGUCn8ImeH6FfbBZ/ORySssMgBQ36nIiV6W+iNQFcra53gGdnU7l7FPOtbOnIKlWg72zEVtc6Q4oZOtsy6L+p1LLe8EVV4DebGHh23Vv00eHPlCjJYa47GLDUP6xd90+stcsB12LQcOYVvf25uI1J7oQqwvegeBADxwD3UC6RmLmRJEck6W1ylDyuvcx7nLoHWXBvXd7cCLaqtxpRB2UjBAukmgrBAsehMpITRNYjAfKRxZu+yv/3GdPt9CwFlAsfOJ4SODQ1kTa64TTxLRwOf06bPY31ZvwML+RIZk3yqcgf0cQRCCp4j0sdqXxI+KCnVyuIwZTuclG6Ud7F1S9l4XAody7z0FPMTAlETR8nD1KvHuh83DiUnonxXmW/vyXacGpMFVa4s+EW+vCjlzpjdCvRS2spMJa9dfhwEO0iNuzDbzSFKXq30e6zCwqsUHdB/GDG55/Ixu4IgGC6raZS02gGq0ZKz3RykYYqUKmwAoCL6EI6LtTHXFGo1Aop+FHwfU3IZAGto9SY7qkwUTSWPf2RqqWdMKoDLR/3auwrsBDGS4sBdgWrPTsrwWGwXAAqMrLrPXbcG411O5Vbth13Gu71Jy1V7vlxpmzGV54ApsbgPNSawJfQpmr9UEz1VlCDqrx+Jm9D4c0q8Fm2zN2DeEj8F00ZJuOKPwel+e1F11EPr214E82wBP9tNUhG2rM68hNvSW5mqycBgznfD20Ip5yYAFTiEVEwdyXO4gEG7wnP9/FRPwUFMufGbMHAcZwiyM3wJgfSgFMXtNB3zq0+T4cZwPHfJryadP0N9b3O7EBbt31QSB8Zd7tBqfO8sjdHAWjGo7Wa3DI3ECGRBNcc8ZU9w9heUXEw1uTspZQtPX6vE8Eewj7sWdJURBQUrggAZD8/5a9GCtPBjXq1E9f51mrvZVSnavVwJ4iOuWmdtrKYdaFXaI25PjXbF8G9uIqDNm/xuhPcFx5M1ChdbiJSX7nkkEcOfd3IZvnpORqYlBxDxXrhCvPISL0cdL/2FbT5U0bG/+yo0ZC8pVvH6z+i73m1nNV24WkKPOdS1JI5V+8o1kG6lUx54Tzw7Nwy0FLxqgwSpm/a3pwTpiwh/7W0Ctikxi2ipAOUlCILFTfqXu4svFFjo9fSf8akS515O4xUVn0LCv3W+xHN9hZG1Kj9KHWB1x6jYiEdvG1xqxqjY/Ovid+SIfSSGKLnntpQA21XEnnmHNv9xQ2Syu54dzwlhPPOo9ABkSLDSaKkiCXq5ANcHLOUn/xg/MYsQmnkqG/atPYRl6O5OfuNYyqjPGetJs3Qa4vcD9Q3qoRLNUINbcdqYElAf3VjtZDjUBazXxqWPo8k1UCu2HJQmNda6fkQenztbrdrbj9Ou3JcKbLmJJihxtQccxXsPClL1GjUPdZAP7yMXBhU4MUaafTiniqIHzpJMEq/qNnjfG2uH767NcXjSxtWhN9iF6jIo4Kvm5vi0kGH25i0xTLf3ap+xifWasJhl7yhwHBGMswunB4hNgC115gvtPQtRN8O+e3R432Yxvg53Fat4uvLMqnFkIucS+65vpjIpoWGKee6qaCtOWvmcK44KEGTkOojyq7EaOzQuWR6rWNEPIHVZpPjjLhulvgDOmGd4h5G+xKDHEEZ7RuF2AA7LKGwy+Z8b9QKSlk6gEiB2zgTUyhQYvvdzZqgZsM0QbU4vxcxTPlE6RYltHCVnk+qMAi8zvORnxbEX9yHXNtDQ4QxTIKAms24e+YMcBCfyz4KQym5rkqBK/iF5YOI05urEJ6ZcDnip4jdVKuqT0gtXYOyjfTyoFkdEzv7bz4pKWE5y//Ix4WePgA7vMWgrhqL4xlilLraTpQMqK5E/NmMEOGX/ri+aFHR9douLF4BSCsL9yIIm3N1fd2oeiwCyPd4SQs28sq+kWra21cZfMqhfYRYkmkn7t/nzvtBzWnwahe67Ce8nkPWLMq/qI32RQVNc2aWZXzIDkQj/2xFys+o+4sfRET8lJaIH0aqfoG8FxYCbbqWT3ksQ3lMudqWgkkbK0dXi8nQMvDISnHGG47xPV5MSIYnwG6dU/kVaMsTzHXhaMMny6nu2ZS0lUo9SoVhLn8z0EOtYxMxPUOPpriF6fohAxAN537+1VQwrVwnA9hGWP4C3ZryxvUfgQO7ZA63fbpu42idCAM3oJw8u9i/P3c0waMhgoilWTNEQnKSq/oYeW21gIQwJuxEYPy0SmYRIiKxV5UOlMcE4oF695joOr5+kpDaJ0xcl7iUq3cKQp+e/r5N4akykfkTNO3ATrzlVpASv3h0xJAmDSbr/Acx9nn1lhXSdxGc+DoKs5NjfYOPRxLKIjs9H1KV5Hk30VhTfxnmcIqK9uXV2OI70XJSPbHSfivwxygjvQ0wFfev9Yr5HU7DdMBBj6LRMO/diP8emBh75ZEI1Dy7V1ybUsGfSh/3IE3EzAH/24el0tV51TOu+pKY8cFaqd0gXgeETVCijsKUPT6WVvkvSvurC5qhAN9ObWJ8NXzqtDM37w+OqC2P4wWG/96+9myWGvllxUBA+6hhw62BUxc9dvIgUzCmnd7aDMEppUE5grYevBslHpfH40CBv48WwuTxNBctXazJWMnDkdR7UYdLe3soi7bmBjeEV7S0r29aHTVRcbDDx9FdS53uDROncYxOGVD9yWeQdzvekvcK+u49iTb9KJLITo2xk+fa7GHL6QdtH4EfjZXJtC9hCT7FiUhNTRZz8joGHYOuJUcM0WkfewuOiA1GMz5IesrbokKOIqei0YTyM6ABP47f5gTOMRsDU08ba9eHu/vv+7JQrF6/+OUB4MT6uFwRbk/5Cyc0TqQ5loAVDo5NLWmZmuw8uUy+csiUvfkIaGmOUs1OVKkUmsNlDLvG3pMxJT6A6myJ3FdLlJ45se111mqDRMfPoJs67W2IDWbYC0Zm2myJvp/gyJ9m3n1Du3rc1EevfhFiaBF0IZowSnOnpHTv72N+zebn752ihSHFs9XEd2kpx6NgwqyadZdcso8t7SengRLUWTzvh/iAdVTdTwRP5FE9A86EKAwyV+Ya7ntbwodklSgapY8Ul4MGFfm27T2EAdvchzUmhwK7h3Um3Eu2W3amzatwbsjOJT6BN6bFER/QdMlwlC4QQ51BwHNT/ikmDkyNXac9Q1noLsjGcxM+HwedoK46UPVE4gdY86W6I5R/DWWXZJT14IvEi71FTRDe4IqwjegcVB14kqlTMH1jDqmQZUQfmGJXB+F0g36DgrPZKahOypA0y8KwDSYatprIiq5SpnjfBC7ypxLOnKwM9LyGrMtou6wjX113PN7gFKpgkQlc8eUNmjuxJ8VGQXqrgXSv7g9fhxNT9SWzZh9+ZVvS/P5EGE4l/u2jAx8kfFYCkBS0M4kAO8FmScSuJAPDre2c5ETiTNZEzrhU8DQYvxsm0z2ydlXEDWLJypu4UqoWVf93sLxoUQfQyDIVPv8LVKKsmTPYhWnub55pmSO7+J5WYssBDGyvURZzpJt8iH6nJYIOjY3DSTZ4/uItjJQCDdjjo7xBUsNxJKWdzeVmA8PzZ+0nBQmX/ecxFlK5fVbc+DdV7hwIUdkecu7DGOEqOV/ZVrEgCJdclBTouqpj/iqvBLJ2KmBHmMff2Lb5vhvzkf3tfoyaj6g9NpWbX6nENgxfrLJSqz2skRFfnnQOegzxHxrJJa+rYHPcjM/UIhK8Z+nUT08xoYrhzmOQA7v//98qDY6lakb6XclkFsVmerPJN3t0sptyV+45YOlhWe9HdF7V3d8BrnW/sgX8ATCk3l4nPY9kI6uJMOe3XqYpXuiYrc8MzT+4JRrrUGvPdTJs3HY0QPYpCKpslxDgYjJ7ab4qhLsvyIErH7PSqCNjKexf+GKtMeW7f7YgcU4lCGTvODMZdOdai1Nfpy1/dQoye4Ef6OIcT8aqiKMCgYxMykf2K71B6apR2QlnrqVUqgD1rZgcFqi5yku/W2QjQehsVDCcVwmcdqDuZb+wxjmEE+Apy7/CAXfjcAsjiNgx0JnTsvXuMMgY2QDxi4OkAzjyrsySAWZvRNXmdUkdhFX/RL++DKLIaTMQk+3C4j87UCSb+WGOUl2iVnGYKTgh2kUBBY57xAm44Zh3tOIWdBwU17HE1NdSLPfjp259Ale4KdIaJImPw6+xxRNFZRX+y5HCOw/vu44XATv4xSiD6IJNjBWO+olTk83JqITI7gT6wHX+tXj6coHLvz8Tv2zBhWL+Pc115iALhdx8Asn3oM8DyXjFHl5xs91tx1WWqbzf8hlwGUEskLoaLnRevAfnEisURd+7w3J9N1TjjtqicUvmLEFq7xJbWOgt5SIQ01EXIfX+WUwUZFv/sl49y0lp5oTL+MqUQSUNKdtAt0srr1SOKgMtAmEykecUX01Dm4usAgt9DDfmZwFRzU5k2UO6K+wn4OyillAfwBwa8sEfAIT5uRqDOTNvk34/Xt6eJvFGCOyyKYy4XMRyQE2Sx4gSvvEfHlX58VIemufKVQ+eE0g0i2LAxcNqv0jFAeKmaeZs+6AlgDYguxNM6bhehSLc1jKyX3Tz+aqdRuW18CPfAA/5DJzajc7G7sKv2+k/hW4xldILUQLTS4s3sULLSXZrWuYBFG705p0qLX9JMgc4YmwyhDYAVpXxCth7BPs2MQTwEMt+4DLWIjln67KV0SbwiFAoV6Jp+u1IP4wh8S8us7MAtZmxrlsDkUSXfsLfAnY0MwvwI+Yz0g5IMJAXo+iJ9H+UJm8hM4x7sH4UkET8qDo9eLKvHDAZ2T8LUd6f/VZvAMc7DvsWe8rngtEwCA7iS9X8G9VE05YlezEBwMfiXEM6/mK42+Ih45WmKlMkcmi6BIziuQdKlmSQ5pIRC6dtrDZUQqVfYDO9r5klua7WX3slcOGtSp9vuNoCB+K4k6TSdgfczCQo+SYJWYYG12aLe6ZZi1E5QxAdjbR2E9qrclO7og6RjexCJTy6arF+ZLPfVj+T9WAtJ2A5hWuAqzvrRGX56I1otU+Q1XkgZ3ieRk4I51S7E+MFhPlANc+jQcNsTg1qqNMX362Z7jDnLdr2K+4mEj98m56/JiFQewFvjEkSeKaBCL8VmZcR8dadBuWz4i3zu1vBFYcH+mYuzsAFElRUkEW18qchAJJ1NrlXnphpFLOwveDaj3gkYTP5PdM2OgPmtzhS46ZGt0UptVGZQgrHMAFURDpHXrQ5THzeJZBxPBpqgiRH5FSisMzxZgoAT59bnS9NxK426gvhwH8PPxMtSTqw1AiDqGv+WCrofZsyDPTADDlM0WeMVHoE3EtcV/5znd+2gxAYNOt2MJobJawZdLlSuQkWEs4uMg7dBVJjjx4457E6lb36Qm6KERZhcIOFc5SxIx84hLsrQ0YQS1dmB/BFxjBH3b0sdcQPvpykay2/qUqCqB3+RghZmmpSOe0I7NiQrbHbaJgspis3SuPZq3XsFVkabXp7OP023aZtFrrXGemv7iOTaxSIAdupqfPymDcjV7AGvkrhpzoME6TfwN4J0QbSWYG4Je33afdhwqOyeaPCu8gtYUI2xBSkobwUCt8Sd1gt+0OFSm/I0Wz6Yb6FZW8rv71b3OFU8pEwl6zhWy4B14VQBxeTup7Wyn3SX2yTNel0l8Cjew+TMlHlGbo8vKTnjr6j9gPl7WmVP0FgnkNnF4XZWCY0KkMb1awiWSQvLkwvtm4QNgau8z/N1c/9Mj8seL5RdrI7XIb3MBrxUws1I5f6kr20gEQYCcl2XJDL2r6Ly8zm3X2uEBWuEEBpk5wUY5u9b7vLppTLOKeoKkCZJE7bYykdSXgN/I2+c4NVJ7OItxLEgdTqJQE1SmuNdLNikqKS5aXl6CfFjLP4+BH4o6Zt98G489TM3Rser0/qDUL9JiAd7GzuRKwT0cNHch/YGLvlp+xqhiY0lQucDMRsVG4hllK3kW+e6emUgn3teA/PPYin9rwjv3NZLF2aMovLdUNfOIjrxUAGHYNgbQ3JNMBBnlLj+MJ6JwaIjlIL7hhDT6CCIC6ymmloA1FKKVb/pKnydpnQzUeJlWNcp+0flPzJq/zpjZh9jy/+NBMLwVmr54Oz5T6gzW13NchkURMOWSK92m+hv/SRhGwFAQKOLi7TUn/6vs1/vRf53xYv9l48H9mvi2KSgGUw5RnAmI+9VmvLWd2zklKLLsV7pdiNgmZ7XzfdA7HXlGz5k9WqQBKO3vW0hDQkAJHfvIZx122/zSM3eTJx+amjIcgdsp0ZzLFfz/Y1ZRxZ8NlUqAVoUQDLUGqtj+vHzvznOLonlDhZ4TryolMji8UOdI2oGORO4VI1wkupC0rY6P3Mi9VUnk151G9IFPGowSw4bIYG26REW70XWg5hG9USwhq2K1h8bRn/DK8F4IBl8NP16WRQ9IcDAgjuXtBzFpPhya7xguH6LmhiTrY6BPb1M3R9q5e/zx3/TdH3TeniowxiVzr9bhemNCcTc4rBzYdcORJ+F5IrpnGZ3w4lYc9zIbDINqarJMM7/zsYq6xJIBiR73/pmi5t/RFw1cJBgDbFTs6cqzJueRFUp0F8cUerC/UnPDmS056iZUofAfjxiMqJePySsM8E9FI7sjbPnE486/bCpuAGiS5zQPz7tXqv2ufJ90BWeIxKaTdV+RHZ+C+k5HvuCqyBFcnLjdJrbakzuKTDMKFOFzwHQK4JptqyKRXmDPJSHQCTx4N54BOQmG87ARRde638rqZgv07RNuK+qEDn8kOBzJ/IjVBkDhgAFvE4Th0OXqhHoaStM4QxryxAsjX9pIDanDK+IDTETF1yE8GSVgrPX5nt2HNCz394AnKJ6omVGtjGKdqvJVWejudtUjv0HeaKzCoquJU82OMIC4nlmuQubS8bIz8/d2UUu6cAjlkgPKilwJ0swHlCas4Trq8xaX18lTYpJVtJ7k2vPcFOP3XIMhIiVUHZXWHihgZQzV/Z/xAOGwQ92Cv93uVv99EKS6fUrCYFFppaEba7pLDnMWeeTeWJo1JNYy8IYUpHbGu0WAZjTNVRwLm6Z2qZXT2xIiAeQ/5+1tNsokk0V/PawmTyu0HIndUJVjdsbtJ0ZoGFwgXLsdSGPGU4kbRNLpwF9UZBuW98HU8txeMCTYkQb/xMCzJxM2gEy3xdto+Qzw3OC61Hz0guJA3wKCHD1nybYLMGCsG1gLmAVmF/sGYNWu1Sm1FySS6iJXhtZoHzbth/x5Ku1UW6UPaRVXn+PuK+i1DUJ9YJQwtTPwWwnHThScpMqrBG/mN3VyhqJqLGw5wB4Zh6KPgrm/+O3fLbaDVMWmJ1liUtBqmKPRUIWm4g0n62G22BKBStw/wvum1EiUpB3RxdrFtdVQarXSA05XWnJzarYNmWhzqUq9Syh4Ip8rrPeXzpvKxve9mEMAFKhGlaP7hv5R9/M7YKuIaWKaM5Z3ILiXDFq/9CDcM/ZSucu0vGsHhWXzLgYZx1zlEPehOXm7jbkKb321PMJMEbqp8eAnDKaQgFyTx4llcI1wLebO2cuOrmF2Qo8gtK2qhdNjNa7SXCAxpddBKnzNDSh58dLyDS4io2MRS5tEgxdAA85ImWxQ+t0O0ZrBTBIAhww877jH5y9poLIAUliqel0xCw4z/9siec7cvZEHuvrledEoDrWyfikw5uyFTZjAT+wbPUdZ3VZbWSX8nSM/zw+LBQZdRRlxA2cYlWcbx3yO01znd3IGMVAVihVGeDgcNgccqOIv1uB6Gq8P1xNtrLzCmH2mFgHja2cK/i10eubn/mamcn9RXc1SQfQIXk5oU+j7ONCdT1Koqkkq21Md9uiTUWRDFQIcI7crXlFDd5i7fvA9XxQfhAYgxqFd886sx1A8PjpB48uNoO5TzMz5ZfRPJEx7A33Ncnk0kHOY05JmeLuH/I0xoeTsG0qs1MWKr18ytRYNZlvxC8FXFPw/iT4W8pEEzX0KB0yFa6keMjO770nFRU3ytzfq0v/J0R4SWV0Nadzn11dmTHGBubP/IzEng1UE3N0Vh7yBHxiegR9HqaTV7ID/CmHYWf/j1npYCgbBiNClXi89WTDDy78JI9Rns4ac0mSXYVZiTmZ/fkfnmZoThd/4sxlwyMT67SWI/eYTnGkBgeJhcCpbW0khakAFZElT4paEjbp/WVSWLAeKDqIQLkrpJHd8btJgCPVcHGbfFAt45t+0VSGOXhEAkjYKmRfFpU1KeYCpX2K04C2L1fwCHFHuOU8S3mXnf2s7IoXSNavjsUXWXGKLkRSVyZ1AG3WHEj3PLqWH3w1s+O2VUdxRU6WSP5RPCSMoNeJOveyNwjB6twkK63C7ZU6XGriBJwf5N0joLiq7pBW06w3YTIJjf80Su4hdbjj8TWVZXwkk3Fmzfu5KYd9x/1b+i2zwMG2Yc5PRcp+ZtO8a4bfOp99BCtJjyF98erZbUThTjTgxZ22qHMFDtw+5GTJmul7BWQ0lU2aJX+TRv7CJfgWtxVN6IFdDirmUWtJPttwLm/cIli7Z6aYqWQzDqqr4F3ePmOTgbApzcCr0oPF3T8BK5+VPahmJsBfpeqXHCt1vsk3AYVoVgv/bcDsgSXgUY2D4bMsslzIDD6xteaNVrv/Wqee5wzyzHmScsm6GHt7DWHwQxFVffwelK1huyu/Uf11pNb6B+vsiAK9LXNVSpn69K2iLgJYiWofWqSoYKT1KTjBUc3BAqsObSqfBtDnVFNCgcoMPpC0Ly2XqZdY3Pn/cavz/ICooLC/M5ET9kcmdYxIBfUpJh6mGRbV1FYmwS7G9pUoYR9kF9irZ/zjRV8GYPA/+XiHmv3kvnQhnrrMDVpbL833DnIikcFZCrlkmmFgYz09NJQD6PS2sADKpvFNsFmrDBNjyaKOnzFJjy2osEa2hkNMA2te9r1PkRr/PiIHDkiczmAKOUmTo0uS6ozH+viAtGlvg39GMdIXH0qQC1rEgIIUTqRjABjMZi79A8kXpTPrnOUVuH/d544AfWc+A6YNEYrbBj/jJxm3MncR19YYkBAOfE4y0/xxqlSo1E41OOE35cRmeIzrh/8VtM3w82ad1jiAHcm/BskAkFqMkfp3KrQah58hTQqrXV4OCRd6HMQG10iU99FTdMvrQ84E5xi7fcx0cvXCtdOLLh1ulknx2eMZZkXDgKGzNBjwxAaoEw66W6+1VJQ3OjZQE8MApb8oEU+4fDh9cm7u/e/0eiOzIvDAu31zuMVFwbLMbrAKQZO8OioftlLTWtEtA8jnolGUkgMZnowyKk340EBZIatUYLdvrD7hsQt2f8dOwgWvVp0shXEhG6FwkeC38wEsFZga0J0d+w6h1xo/TzF/B1IGpWcZubEnmMIs5Vd/icvbTmW5CqwKzzOvUDpaofpHKKbU4XsUIxmdfOYQDWcfWGsYgYez00ttqVwYqt7A0Ap98DMRYmewIcxEKYzHq1vz+0/ByLCkc3TuKmtpWYuCD9xTw5kr5GV1DpS4ZtKO2tqSHI5uHRptEUB9u12qGaGntT2S66QQBPdOXecQdmWfhTHLKOnvVEOXmqo9SpdDxilO6i7WJL3+ng+9rVxsOLax2c72vhm95D1+PpHs4Xb2Sjf5C2CYORDQcVzmdFP7rQgVrgvNYtvU64+UvmAwNb0RYTRv40EEKffyJRHk9AZMrET+Q3BhYdWogHEwQnVkrQO4uRYah/Bp3I/iyP0ojKuKC7fDf+Tyzx1FVp3odpWBYxP67cCM2yBSjfVOqpM/wMfJZwAiMdIqCuxNfo0R6DGFkUjO1elEvl+ctzv4DDQjtfZN2Yl4MgPJOT3MHFMUmTYDXJl928/X+5XAexJgGbYDATjg4JraJsirrQMJHBQymri1iXqkaGMzUWJRd9yULgsWuY2q6mfUkAYtlWJmOddwqIpzN/+3tOQH2dEwMOkwcwAhJNBjN6Eoy0Xs9cPrJ2pNSMUhDvEyP1bFJ7dV+U41a6aPB+/rauE2RJs6BnzX3titrGB8bJf0JD/Ek7iCQqVdKeJ5VG38uU8KiHz3TiavILrGHAaeKN+gLU86Eg7C3BbLZOWuxz2RlmHm/wQqWvDgVB4pMEX3CWr4d0ggssSdviM3Dygj3Yvd/F56iNnzRTmwxuSx3mOYP3/ui3MPiYmvlRUv633CUUnzzjxLEuK8t2lUWJ42yBiIXj6JulCn0o5318pnQvO03c4KNW3gtzj2EyXT8voZ8y3wtuKyWEm8g/EkrsmUOpBjsAVKC/NaOIHiiy7iRaHdEQvGxPLMZIym5RvBJdgRCSNM9Z3RlJUE8bYFcy/4xfar0Z8E6hc/qoHm26q5BLcNao/LZj9OhRecIbwrQGwUcCPb3v6qNgxKzKzhuvwlgWhdOgafETHI2F7bO40NpRgdQ9iJiy6DSvo7iI+TkT0MCn/hH/eaZH4SZAXskGgUXaro8Gx+D+KpSGD+E8vw6LAiZUxjQCv2E3yzr7u8QsyJCEqmXXeDEZcCmx8kAa0bU3k2CxLUDdVyPvM2h/pBZfpESvWf52zWQELu5q0gBuraBAY7T9oZ+IBh1fYVav96aFWhzIXi/E5cPFu3RjMcZG/KZbZ1NLBGTRQ0ioQUg/G8Sy/GhDLVQe0Gh28RVbudtlhthcohhf8XTiLjSoEYFZUJ0Dc74N9G5ZoRcp9HjSpHMUG62lPsXxKWN9q3E/Wn/4nBbgnsqRSS2OklCAULMg9UWVL+0bqb+ZUeBCvhqj7BRcyLAtMQwls9iuMI2f15nOCBqcLkSWHOgSzDJOXMUkSPsObjWYS+Bq1H30EiCP/Hcw/v+j6N6Rey161gxVFTLzrz9Jei8Z5EggtjPNeyTdYtElKDObc8Zkl1MzBKO7rN8RjSloh2jlN69HVajovAZ67sjYOENP1n7M7ukg4GvSYGChkg93ilCLmGRK0Pb14ZLDUlwPiUbw4qHIxOrGDGN5E6y36OPEdCWIYbUHRPvhxUU9jytKhjnN9LL8EwMqXrvczBr4lP2b6zuACEftLNCHNTF1/W3YT5UMda52hgwGtx+9QWEtfdGOWo2eUcTK/wBqEo4O4gor1EuE+OyN2K71pXyHC418/ImpgPYXNLWTSM0J5EkpN6WKU8o0+dTmRAfpXWaPY7JeR1zY6VH2bAwuKKIH7iJR4rWEcjKsnkCB/t9x/cYfkealqiOTz/tR7yXjedeKcGY6WV0lQFtYdRLoDSylIcVW6chuS7Zc0J/qg2SnY9HzslO3q63flbrBpMVDEtOHyN9v9lXPjaUQL8jVozynk9yqyUuO7AVSLHS3/HJ+xpJ25YMJ1J0RHoIhXXE9Rv7nydILjGtRL7pML7TEiyJIjYY/y8FI2Ydu+9jpPMR60jptjjo2TCwCLnpYfJFoMxEsrpJKmFnyeE8o6efZAWg7VWMFkz7RLNqah44eVAv58ZGoNBbTjgAW28vfNV49JQxJg4beE21PMSo5OOeDmcYbNPsSoWjidPUU3VXOc3fn/2DD7QHK0qCRv3KE2rYYKBRkx8mUSZ6J6mIpxppn5WGzugPeDLSXIWmp7YQKl269UX55BLHzJnpAz/GAQCMFflyl8C8WccpznDgzSI2cY9k/hNgjduwhdH5WEKWSjymtZVX9JJnwMWtIKmOj6uP9WHUrA3WdVRcb2mM/rphcYe3SnmKG6EQHLtb5/gRiAJrWo4GNEtZqiBzGqkLfRN0aeifEGda75PkA4xsLU0NOgTBIv5K658nVUtTxw7x1LCTatuCBFoaJ+/3jOdNHAfhelHG41vAV4Nuo2Psk8q2WwwNQJKBjPFpWOsARhTd56Yyr6OHtV6AO5tEZgamqpa054QfAb8rOMW45VJHQh2j4TE/1VDXOm100uKbBoNZpCLqkp2h4XiGFAsa2qqoYSuuSgu8HLf+HCAa6hPj4OqtsxQyO0ISowaZ9hYVvvbWxpbHi7udCnh9phdTCCfi8fPHFdBZfYy60Sp4KAFzWOvPLbBRp5niYxQx/7hNmG9KvyCK37sBDjZljcPYhVbQCE+S2+HDadfno1a8Eg2yyLk8Ngj2Zu4Pkndx6urnHSCf4ZsN02WPJbiWHBnlnjenE3lmvpEBEW6HSyWhvSPhxHP1q2LQY/m0RzW6RWQTM6Yg8jDnRgF8QisEFwQX/J3aZiIoGcHH79SvdRu3ccNwNvucHqCQR3i6FoSl2d+C14ClZZyc+LZXJfljkx82XTNDfdqGoDv0i9TtR1ZuRkqHtZ8qHnR+TxJC263GClHsTeApVSrNsZoPur4wnaYDNXy8KxSR1KL6J+oOgklNmr10QckVEdJm9jNOzSfBs43zwyF28NaETXzxrn3LB/HwKma0NtshArmz/jpFowic4dF1UX6sqsTAHPoRJRt9lPhuKbYJTjPvahC1HE2Kew9Os/zU+iavJvgYToZy3IH4LsUVjB193WBPV1EhniW6KZpZjaXplTjk777pZH6m/23PjAcPCQhhdnIEyiMD6M1yb+C2pmuEOwyT5cy+xetSyZX0fPq3GfAxUWD+WzSvrMa5U1nf6DpHbOn1Q7E1pvC7pt2KN/FNamCkgS3ApNFnHALV/PXfABgQXiicFyL9ZIarWq0aVKk6FN2fnLepzdatX8qv2iHidXu1Mn8Gh9aaW4JghxWFwIgGdmoBGNRJkmwRlvc8AdALDmLhP6HrT7dxUAdGKs0YXmf3pkRwpWx5k9WqQf4a+q6qGmuy3LqYTTk4VzUiulqobSOzXk3HVN1r+4MXTmeAkijVJlU0fB4/dPhuTb3zjEGDwEBAzkJa0xJBdRfy/HqE0FxBhqUcqUREaZ/T6LYzAqNBnoBAbE1sTR/J+ZtnCeMfihSq1R1ismI5LvmdPbiHSf7a9TDWySnrl7XO8e3VHClhDWaT2debbcdVCQUpVwrQCTtPSdJIuDgdHaw5zxRTwSAhR3ytzargujoDc7TFyDKYM3ZV+7JIfjXpyd5vNk9hJOBOXyZ83+ekN7FnBshvu1pHoVRNM8rUk4KRYU6uc02j/ARg8IymZFyoJ+iEa+Ul6unKJz6q+nnsJbjdq/ujVwrOYZMWTlM8ufoxeQpMzE+zaJWaYXX1yJCWDlJp2Hj/EJDAg6hPhwUvoHTrFScui5g+J0r56GgTbwYBy/dN+xtQCRwobGoJdyLPAtK1VRqv3n5qTKhvAc5kbkhi+/qTRPbB42b0d0FV6Mcnraa2YDyQlPnDo4vbkxD5AjPVIJzPca+3eDclU2FzYNilpodykm1FbiiUsta6FDortXEopuR3ur0Rz1llSNlq32NPKTaFhyTPjeUPY9/HxCYccsCp22JX+vcihfBr1UadsR+Nkd1K8IQig/IlSTW8h3z2fa0ps1QmmGT6ywVLyA2WnFpslyPwZWH1juA6eazZ8vrQfbbt4joLTBFoD06QnLLKEEovCi+a3kRTwQt7IRlgvTjPlEv28xYBjRsdjkJLTLSY7ltts27tBWC5AMs5NRVcvL1GhEduulgPMytGbmXYFzaP2pJPUsKA2BS+NU8MPflOF9Xg7iJ0uxI4/GJdVMY6Np9OxQXNA5UJGUC1dPLM+2VLd10Ho9h7fjZGSx5Ty8caPxX87sFBErsKmwcBaVwsvFiPgIzAx3ysTeI27FIv2ClQdJkoqbP37jJtiEoEDpwi95HT+SIq90CjKCM1+Ys262445I7DZhNqqCW8qZxXHR2cCuRWBR7/bWUY6rH317dLMLnkMKRJBPOfbV6sCYi8oO0yMsMa9/He2UqWT8wq7Udg7gESosg3fm51IYRSXdltMMw4c44+FbDaY4rWXF+l4qqCTqL8eMXgwXtsq8s/Y+sigGv+DbbLaRH1NnALrGT1pAFVfNk6Y/cVvsgmtMWjTKD5Twxcd3GNAfM1iUgZsJwZwXTq4Nb3YPd18T777Xwi46Tx1gQFzAw+kybd4AEYJRW94LIsH6YLOvlVMQsrwvgYvtLpIH5e9rSmQi3aU982dv0jcmqssDA6cZusupfV/wq/XW5DNdpgtQDZtCjTq1tkoAl7Wn11nce6kspEq0I+qfm+ZRGybDsj0BlBaU502/D6/gmOQKbcMaq+QsK+cZ2YAdvFCrWvRYxVgdSqnRlYS+TVo0tNGf+rxAW9R/PaWjwTvpEXLnFTsOjNctROLOxuPu+cxscNdKjRI9bhqRAz5hTGlg6b9vlCrONaCCO7aKSiBkLVJtXiiWwGhs6p0Vy5VbksOiRw61RCaO+6xMA8FeTxK4r/YmhlGFWbwV5JO91wc6tE2pHf3nkzPoYWlD5VvO1ZcfE71kUiRLyh5+7SW5eqc4rKDO2zqRtuldtdx3L75vlzXOv6FfxPHoiV/zSuQ44a9dS523D90asjVVSobE4+HQIARs6TUj1nB80z1mdLyyEHkpXu5pljuVXICEsJApxRImA1otIasKAnMd2hYUjMVj67gmyyL0UHAP9Bw+6ydMBJVbbyjorCrawrmMZ5o9IwLJYwkHPPsqG4qBs0kbtCsFfAxpwpKr6qZBANbj3fln9mAAvec1W00FpHK0GbSxYeVYvCpUbXfkmhamOEtbNjrj5l6Keb2nnZenbjGvcR9k1S5xthe0twicOhAaxbwXxzIlyuDwX2c1jwjquIkGwtdyM8Mu6VzdrmACU1AAmD4GIdw7+zzmGDao4tLNa7vwIycNXURGvwirVxAPJFobRg+JwEw5yaoaEz4OQiPrM9L21H414LI/oNmHrTfngRBjziqFePrv7teWflnVjklZpPjF0lXxvriIBG7U12eOk486gLd7WUYUnqRC9Xx6zioiwcclo81qtyaV3kGeAysbILvyXPCBJHXrowDy2wBpvlWPO7Z/BaA3B7YK5sFF+1G3Nf5ekuNFJIQpTKyBR7MaxhjAxDrVpVhzL1OlmKdxiIC3UiG4kz+hgRzd3mDnwbaa8100HpOjir0FIypBiz91A0zKpqaT9Gd8HLIF2Xww3vXbUqbclmv8V85i0k9nh+B46ABdnGmh/OKFa5RW9SKdZT4b/8CL1KO/D7RzAPYmr+7ehtf9HXXb3LHv8FFeilKP+9pF+AtIUQ86yTnDG3x9n31LgCkMPdz/h0z3Xb3+7W8B8bppvCgC+rAqjheb7HSXugPNrkMrXEHJyAGvuqMzq+DCtQF2EMfFJh9JqTXAI/xD7zs4w+73lfBZRpcZzoeiM1neAie6ws4arkt0kPmWxw6OILSumuycSHQVfu4WByW63TZDet6G9jZEmG9MT4yYHE7Omz2JOGYaIvrTJJvA+VbX0zvqpjzn6kwjI23IuNbdrjQFfkQsLIWnsGE9drsGvQ9tYZ+2qkCMGIH+W3Wvdg7uuMyrEWLtohO5bxH2MpTo0UiwBDPIA8ITHn4VCNkhlhMcVHo+Jq7NfYdkafWfOwsvaFOHpK5+I2SZMRJyVQZQ3aQw/0zoCRAwb5mrt9Pm4xhz9A5QHpBpzaAlxrwu3j2V/Fm/mP6KMRKR4xhbXvczVYuYGeVEh6W9oce2GDLyz3CHOrkgPzYZHlduIyW2t178k34KPt6XjipbwDp1KYEGgWN6h5GmpHqEzSbFAPjgPffheJNDpjiIypXGeYJqkfsbW4JkRZdqFy9abp90Fsi/WVWwjgY84hoWvrjF57/h0fxa5s8eetHEapoH1qhYck7ZUBsKvtH9n7OhNn1UNmvD3D55cV9tORN5H61SQpiUweaRsWmMO1NxpispMwkDyK6pxObN2s8RVxThdvHwbFLI/kBYw3L6FVBpydHLv56KCOG6Aaog8MokPmWV0c2v3eXkPWdd5npZN07yMq8fS9eQ3rYCJdG7MPYkBW7ucukl053WlsCLXi8aeegV/qD8xJEvH4k6WuDBX9A5dHAksPyLH9kKW8wTGZiWG14P+47YVPZhyQ15B84hWDzEG9Z4kAKuvDgg4N0Riazb+C7Ch4xIkxfpun7Tg8zGaEJQ3h2c7Q7q9Qb403IxtnSyNhem8voEBWDv9csHv6E0ihh4uG/tJ3OZjbZhSRdDzgbIkrWfSHTx0ZOJiS6Cn6UAL6yrIAfaKJ+8vISKPZXyNU/wyYVJ7evMu3dRBX9FzDvmRxrpGAgwobxK+VdfJ21w+9uaZJuOCJsYhQgkK7Rh2uPkqBcM4ke7IOTFx2mIutEL43bOPBrX4uHMOnUcqLkF1KhOZm0Nm8RjoJOlLgumAa8fp6/gJ5D2LEgN3MwMBI8KOEjNJX/fQ0r7uX9NHW57gSMCCRN0AJcFYYTkHgC4FDLnTJOo1s62NArbohBoym1cmvkzDi0f0d1PBpoIpMy4IA9vPxpjnxR1u/xM2C+P051g0+Wt3eFpJdRSxC+jh8Z8NIG6xYsCVlKP26rlVmMwl3KF0yLCk62ldegZ2mrNr98WXG9GdtEkjtuSawWTddW5P4W6bLhtRQq5gH3eINBrpKfeI8wWLk/yoJblrxRVdf3ve15yKAY4a97RngDL7imZLKm8+ow6hg7/EkFfRGzC0j/GUqD0WL1y29Bcl75/nAGdRUzXnlDdfVA6oe7g9aTqUmVm9341BHUdUAji7APWsZj5lCPGHJg5vWhrnhCP1nco3aN6fxH7UgGiff9C/vlsxY15OTOdvaBQuBCtnaktB//+58uYz9js18Z0XnOOsxyn69vToCK/eChRkf2mZoXw5aFcx6Pb8FVS86alq8TF+suANifZDZeOk/WYBbvVRL8vC4ilmLQn0/Dg67g/TDXrQPpO2b9mQhQAJmQL5Rv0TFRF6Gr6wze98VYqvybKFP0wDXofmmvWfSfaNphPdB5goeVjAAj66pukAjTp76b6uWxJ7qtlIRXvN0HwofM9lo/jfTulzeYglWgv1VqzWVlKhuHP8uVxizppVc7NoH8OenyN5rF/93+1ckwLgi8YhoJP7BToReBHTfOXUUTRiKi3JceUEZIpQndvnCy9QvkJuMCjUBwqafC1xQvNqYDV+qxbfp+pRhHvryO2GwR82wmF0kxkc6cmaRYTg1XMWb7m+xWdgagBXTaGVIimirl0MNRyUAUF0fSFlAXCM+g4c6mKSCc8OHw4jREFuoVmRhlPdZ49daQbMk7NOkXm0KYQeC8YFJItSO51TyxHccLn/y/3SYAaKSP5uf3tmCCUWZRybYRgbap6nEgk6b5/B87LU3tt2sHXiDgORyFU+WhEO2Iv5s7ifMUjek6zCagDMUlt3M8zBfdbdmb0im2QJkGVng7uWDeUtQgTYEhym5FpsfPpaSjlGQOXmGXVHaBH1Yqwu1PSnyGM43/aDZmtEOECLKWVtCPBhjddCCSgef4iS6gs+RWILe5aNfYNpy+mnUvpCwUJGg6bF8p4mHzJAvgxjuDn2fhRMpjQal3sWW+qjExEFfPBHCPffbEi9JmCtFxf/kAR61J6TfeI5SNPZUsHz/BsAsR/7F9LLz6GLTr4PnpJH45HIxF8/bRJKXKiDcJpv4uZjcdOTG3zpFThwuXNdBjUrCxSE52HK9kZrXbkQG3K+Fr4v/w07on0i2MJzZnKUo2qB9JjBnwLCNKgLZsMzk8R+tapnAoEUQs2CCPi+w4iVqn558Rh1z6Fw/e717gQ6NTNvIi/NU48PvbPDui+1Q0qXLfqlS5KqCr+geOO1KksX3opYEx0sn6EuOzgfHgNEN8fHFBxvUulegZOwHLqYEvuaROwd8Bqz9MOc7aN9fwoBreP3u/yG8c9jpuNTUINeyZzrtBVkP1TCQx/n13wumt6sUE6EYQeJczbcW4sCfer7y3wfJYqm0ajRDJHxmvcY97jAzoyltXFWW5Z8crKf11PMtoG0FRlSaXtMHJFHl+Rf/L5Nl5FzPSlvHbwWXZmvsQBO/4vTHzPxBVHY0hclDihoGrh/Nps8htifsuWF6kCf2iSgX8BOvoFpv/pHaTSjVl56b5J1t2guxw4/I+Gu499LWwgTMBtIZt5VG/E2y3gpodkY4oJ+gpR7AAQkJa5mW9cA62wlqfCvfzV23z7ShisaUyuzZbnwYouoZdgyFn6FL67SjszFwesz5lnY8QFvLNCCIJFUMHlxBp5JQwwTa6Kj99VGAvkBJ7p8LVvREV9y9ZgQPu9m2iNRHWjyhjZhX3GXM/iIGi6kWtyq9BU6DH4Lr/jRgQnqvMCE7rLjBT0nuyDq2MmgkNG6knQEuTO3XoORg4qvywXB1fmnKjM6w8EmHr3Sz7q1hDhhDD6fx0OyEOYIdGq1v/Wz3qa18bCQjqmoOEPbdxzQH7vLNcpwpnuVGC2D6/1BMjwTJvrNJOJL+g6FBgagNUcPuiXuwIUDWYF5b+EdqTb5eNkMyGU55cCcos8yqECVJJmW3gF7uBzCjtCJx3yBzbE+eHo838CxAuO1GCjF7JdH59q06hxjiDCGiXqKgxuG4EHMlWiwfhvTIY1pTg064lvkMiQyBLrOm2m3TwX0K4Knvy2XWQu+FKa3SQcdU2ahUXYTZmXW+WFep+YHRhaoMyuVPb5sOZx2HVVDU6mYdZFlFgFzykufEoUCH2E53D1SzA9ZMVv32do+U1rM2YXaYSp1xneP7PXErJN+8PNRR5hSVUnM9eEJruxnfSBgyDzCnA4snu3XurJW9Cbmo7NSy4ROrUYyl3fdkecRitIBe4JPaQmNlgS3dqm1mWgulKAbw7LbkRh8FkfG14tGp2IEFSDRh4PmNwz+MawERX05l2NbLR63LuWn4l/MNagERpG6hrrjezxmmxnIPpjhc5iTzDvaKE606mibwKUmR1yyxUpK8OWRyns5x58j6dRBoT8gaDUOHxJFUnOEC0ZyAwDnsjRrZvoyLBxniHrZOdSp90W228ZM1NwwXWw/ez4YiipFxP2YCQa3dQcccT5UXI74idhwemqgzxIRlIS6cVfq1kXSrxO4AtDyoMT9ZS6y6SuzdaqqsJ6OyZOqkHxUCAPCJKZTlnI3ob/AT1ZBviKvwDok8FRecah3ZpokDKufMFsuNpbgdAqmqnjhs3vHSdSdXTzggbKDaPZ1V26K50un8I7nQZrzUR0gTn8NQxc9OV6fgZIWbZ2qFNCLbC2oPDWxJsnvLWT1oTs9lCzZ8nWV3cUWetywbGgNPrvrFxUvdeT27i2C5XNo8Rn1Tih0qzXVb51RQI+DuTrQHZ5RO4fTn7Iphlr2oAtB+MTvWHsTuRQRneSBc0WwAoX3EdiOOGFr1HMnqXjOXr/U2SE12h0TLa4WhRprGOoblPlaGKOO196vFmFPuF3bXiQte+xB+0W22nXz9iEJ1kxUWAcrMvzgci1eQK0XUDGHW0ZkwLjNwvlc6Tels9ZJ9bN1bSMqmhtGvm30WoZN7FbvI/uJxMZzSEbjkGn7HTJ+6UfH4D63I7QWJnM9ahQfHist126MKsOZ3ntPgXpZ8GskxayZlwNQjELSXVd//AzIUOIXR4vt+bje/x6Gk3fUVEj8UwH2m57lzxbcEYAxXh4oOvpQlp7ChHQ5wfg0IJeByWVin04AamNkLg1lQRxxvgvzYVxoMuIB5asYwP2Io4dUA9rBliZuAkUElL+Wu3bmI31IXZHkludOP5M7Bkw5k2zniEJqBCsYJLVEJZ7yOpP5BZ5H7y/6mKUAoPd1ZlsxBihhiOzECzTeCzgCMp/3rdK0l22T1u8xcQCCgNhSRtA4yBiiz3SK4xFLQubVEfTa5GBtjiq3i8FaLhlfI9m9nblhLxK093ED6aoRyK5lUfrR/Q1YrLt+j5ThEb6FBcZbK1T/vk6RtgnM6bwTXYJPPSOKkuMIKADizp+IUqRlb7+31SrWkDzmS7Pdl/naXGYG5IfmaXf/APoNQCOzUGmEL1D9VemlNlVUipddaV8D8b+wSfEmWSB1FAyc4DLfFWGmaLk/rZ1fhHl4H/u1bwPjat7UeM0uKQb0GO+h7dMaAph7mDc7PQpgjN8acqSrbMds8pEmBoDAAKwChoV6m5Gvl4UPqAfUasIAknPsOKy0j/tdAlPVhNkn6AiwB++/CIynRmF5A6w1sOjgBfg9xTzrrE5P4QSFP2HZ9AF4CeGR0JTy2X1wChgR05n+2tzCsdcL9wh8lSdpsdwg1XoF5VT5mOXx+WW+8fhkgGo4lCSljCKZat08uQHGYfaHqbnRy8suQPdMqRSkZdZCoEm93QoNB2eFz4HdGDdZu/MPdKe1vmTBouzeNaxERUgxOUtnrVGA31B3hJLiMw5Hg8cm2u5uoCru+mg7u3u3ncXzdTG+o+30aJYAKWy1+7HbynIP1Lh177SKIMwcTdNlro9Mx0H8kaHlozD2G6KRCPIwQduskWXOou7ZZ6VWNYU5gwXOWknCIh2q+5X992qDSs8rCP6aVJslqkVYrGWARa8nFGNrurkxC0TD2DMp67t4mrJcLbZb8semqj07/MZ+aAHTdlR27RxIn3w2FYkDcppG5GfEPwoLGzZkRr83BKIb8Jk7U66gjakVeLFntnizsEjW+can1aVUHylXQv5Z56DCjnbBOfq84g76Prb6dNxYQxVd6bSCGtvv8H0T1SpvOqTAHCS9jzo5DqAp3A8gm5oR5n0bFzwbUr7/H19U8zeInh9CLI9WT0j6aaOi4JN0NNZROOh+JuqTPdWxJXPiDlT8wsekTj0Wn22/jmECSKhRONyZeKKrHBMQhSsYFzwBpq4LYlD7j2AMuMHu+HbvRz/X8c6gNv6YePF9uZcuC6iUTqqUMIDv+E92zlN30SEWx1U0CAcAGXQeExKA1t5A4v2ij1h66x6vcrF2kViaYr1Q7BUOHDSTi7YHa9kzyrUB4pP6LCC2ONuhMWuB5P9GLrIGzgqPqfvDkRY3kqeL+zMKggSq3/c5/c2ByVzTcRQ1Hf7rsutR7MiQEl6PGP8Npl4n2k4VXaQ/Iuq+PiNL4Z7gANQzN4j9xgu1yHSerOXKeaqSdYZgm2e+4y00dQ73ZHbb7DBCkjFqCc7D8TmbS80FWQhlYbOIZEp7KiuZudb08kgoD68aG3ZTZJxulL2123lo4Sh2gRMrLo2zZTPgZRtCzBJY0CSRb7kxkGmm4eYT5MAH/elSESrvd8X+lVTzuuYfSL+d6tCGVKyNBqDKD7/bmoxgC0Fi1dvOCc4ZPxUicVXswfCyN5iCIauuQsFGLd/u6GE+xE+wT9sRzgvJHmkB/xmHvV6zuz+8WxKeuJ4ZWjZPp2vSXq2LTODc1yU5Xo9g2zAjfLft6B0/GT0j3LdjUhTudumxT/QLRf4I2HNQ53ZBvokyNoq7Wm2Gx4Cm7oxLFeL0BG8gErrAaznQcrh7qB6XlIfSPmkxBWhHGO8fDTFWYp/AAAPfaoWWoXM+RBx52dnwQPozp/C5IQd4NZzQ8BDc32iCB68yIzaZ3vNKVXYEjdWc+Xj08VMUy6oHBVMk57oAwQDg1HM+hgdpSyo4Nq/cmspDi9hJsecFohcL5jkvQauD2CMkhGMdyzUXYqQmWUIDplSQb9ywhvKeNTxtapxCdK48I4+bYlaiD8Vy3qtTQUSEBDe/O9IQyCwujRlXmheSY1eSSfir2Ddcxu/iT96M6rdye87IKWqGmiAfSXvmhYcUJvJ1WmTqYjx/DC9O+EaovVfpUemx2cqYJNfy0oJlI6kZ6szaw9YOSLR/RT5N2f7vfrEnbXeZDFCbkoppucFAYKSON1XcrtQv1etGowcZ0o+PDRo3RNgP+est9SbQCzq8Lx+mVCGfNxjMEXMC1JWu6UP32J9yyMqPH8WcmNgjUwH6JuJs7i/M3CNsJ6rBbWT4TbAcKxFPKEL++u+ep0U8dZ4Y2HCw+JD4l7GS6k4PEkUvZa9+bhd1wm36wRke3YE4kaGVMOSeDkX4fGYprkkRPIOf4c0+f9w7yJGz3VHQRSZCJArP40rcxy4LxdUCP1vwQRkPuXUEQYz2deppg+N7ZcfHNPrbeXP+JXPP4nb2lfepEp6611bj8OfJQ3Q7FKLT7SP5HX5L02mdYvwUzkfZdJSVEPhSJRRmDK5xqWg7xDBot2OHc8W8XRhvTeD06C0xTumvqCOwhFIbIUGwcfIzaMS/lurLDjdbdi5iklCdZb534InLPPxPcfNPd1mzeFLCeAK4/YFFbPIVpFBOVj0GsQNJPpw6KuAFIfN+GSq64+HIVq1a5+dmrDZ+D4py4cQ3MmXwun/bWZXPzsPkR8BbI9wkKOr3pXqvQFszqX+4MVJOwPSa0nZo97JB5GNaEjfco2dAfmtsPiGNRaR2Iuy5HWapyKM+B5IKG6vgV0SLoCW1ZIUV3Tfc9TdlXM7xJNss14vVx5ZF3Ay/qNGLFU5wkWR/DKl6Mpeo31jrqzaluIugJUsxHaA36fb4zDcAiqvs7lt0D/X9aD4QxfFYzy25qPVcPdgrLMvBhSlGevW1BlG8jjbzXIVN6rZoFg1Igt1I0DBajpuCPpJ7cmxH/lHYCiwf2/GrehrV6j96lrEi78PP7myhx3a8dNnksN8frrdlnYooQan1yZAp9IRPwqrWSD5YEg9ao4YRTh4pWlZxdSdlkDmBzwbe9iEQq9OKZC/By3kLgLrzRH2mGRaqU4e5FA5rq2nPo3OdaQFRBi2Ddlw9lkQvuhdyNc+GEiYYDI8FNS9PuTaTLWQ3FQG2BDrH7GtYSDMvHL8aFFQrqlGSHWWWr9xaxy0qpg+vBWLGs1UCyKd83CF2tDVlB3jvIE+2pnZwJdO74ufVl2qM0PF4q69itv8UVIvMdrAAnNaC5/WVL6lB+2y88LlQrHYGNNrl46TTRviT6QDtl/c3ZbvrQj3XdhqgdKDm9XDlhTwli0z2xoCNp4lxnsYlhxin2MpIIwKIuVMyVCs6qD7PvkfY6pMBM0bWeGZQDltSrtChQwwrvACHRDLrA1l6KClzZAG0wvG/aW4VS8l/ATRjUL0UueKxpjHjy6TT7beG7k5hTjyMjiLL41eWeiWIq3yQ2VxsfiDdykuCAORBesZMwHiVNwoVFeJD7aQKJg2tas37G0ltVK4Yy2XAEMX4UuRZ4Xe9UmKAGRIc88nvk+sn32t287wgDVE+vuv/RwzBm+uOXZv/rkZAxFJ9GM/cfiJLAzGCkrRuSNpcxmo5mBqQDAvMRcGWp7QdLb8qt2H6F3UgSRlBMBHWfSJdz6uDH/k992bRmLPhYjETIvmtXBnptWu/DBRx5y75niBGjwQkXUraQPsKzRi573v3T+VDXecMFsBtZDBuELKnq/Q4OXMWFsUOFCkC1P8jWUS/yCBx3ppLaPPH+ba7XD6/DYEzNpoKZHaSrl8DJ44lP02BBZhub88dI9Hc5k9hxJCCI5PxwBwUX6Y3g3i7kxPlSKsbjVYG19ZLDKcjhvjg=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ItN+BdkIU6kSkys1oz4FTbg3IAHFZDQQIUI41CPkYeCkR+S8QFB2kPylUA3JsntOnMnXuTmmpeohPhgnOvWjiDdh2M7oELFB4IhxJhTerNRjCFpuFQEejr1r5CmgUA1fqrpblifu4Ur07e9issnjaD2qHdvNUvB0ydd0A6T/k2Hg/O3P9r73iQw3MrP20XbaYOAUSYg/0Kgu3HyQh6hA1SNCrOZHoM0gc98Zjv6LOFuK9UV8oDGI/SklUZphJSSGHPOq2Bsu8/Yfebar38g0XnrPtBfcWzlEdW//84r+QYUYKcEKigUMLIpiiFKOhcr/704qKjPeknEu0HGXLw1xjVICGLUKBUqw0R1EJROvvmXXsxdDkoTWpm/4Wf/0vmi9B5YtZM4/h1+68QTDIDQ9FVjuA+Xm9u0XeC32upTOzqKmi0yQNcPY+TCdQc45BNPWJ5UIE6r7VYLNOKx8jK4ilUfP0D4e2Di7r7ThWgl0O3kyz8ytnrc+N400of1bRZIUCnWOvMFiPyeTJj2/MLGl24IQ5LCJq/fVQY3GU2JGrbxlRB5sTcEdi1BpZyXQWOpRJDz4zx6g6hF2pjLYDw+54pzM4DeAsAplsJisYWQ8wToZCG/kN2xmdDtIvdaRc5IXxyuQx0EUD2DVOuOKUmFuZAGRc76y1YzjnN6JVlf2Zs56ptwtIF3qmNnD9QEfpWynSh8g3udMbFGSvaQz9XqtO47b3Sad4HlUNBnrTpWu/etnGq/nNlVoo1rjqgiHud/VcdQAuTUqEFIebQE3A2UBi4C6T5BmMJ/aQ+N+id8GCpVBOjh5yf/NfR0IMx0KtcptPJr2oaIFyZ3NssuiPcbemZF1+C1JZyMNWC5PCqs7RpYVa/BQjUPNpBDY5oFR4UHAwuboOl60DB5+otQGNLwnpPk/hNgVsUX4s1RGfm28uDErN+k7iOWwEd2l+kQ74OpdxW9FvzgAiy2IoPTtRWFogNNVu9ko6yNfT6tJP2akZGoFSeKXtsv7Cb5LeB/dBSnrcWteFtXmVBaoTS2Xwg4bLNxh3plemYzg27CzEpV/7UjAQZ94PgfmuNnNyKab6GKWG64CHkfLdRgXgpibKIIkOx9aRS/3atL1cd4jZV/wdArtyYKO7HtcQwIhvyAA1r4u5iszhl+UUzYmR3D7yDyhsu+EIxs08TeO6Ra2BhyQtHLGJx7zheIeH8AOGoJlPKNgnc0YomkQW+pLxnEweFqYNzgPcUP1ufGeK1L6WZA3enYUXZ6eDMjCrBem5i0fumPnrW9O79jwNmKcbwadlIb9gAiZeCVIWIxpPJvaqlejP+QhfFppclqh6i2buenPYYO9eLu5/56PrGB87gIRz1LUu5n5s1yeZ/Spm8ECrp6ol68i3eiYHJJ07TItSKGFJgHkbnSU3rxhwz3dvu0hN0AKPnnT86sVa/l99XmWnQIBqPBmJXW86J3jHi2N92LwvFtQ+81zKJzI1mWYNEW/zZZHM8CSiIKlVQDIgtw2RSLszAVljvpjcFRCHc0O11AxqJX6MsFfKYf+aNox3hukRw38o3U8cUlRESRFx6gl1pOsdu+SlORQIzzaV9q1O7l3IDBKudWrm0ONytzVexSm0fQe7NSVBzZiAF10BA283JP/JklGBnqjFWsRmmaotCs6XGIoSlfMTV3GgCOenOWcEaoqmD2rE4WKKJ0MLukRk28WdpguBvjL53velAfnHJzbL16F9R2niU6G4A2muYGKK6cmwasij0+m333GfRZoxx/LxoK0CvKBq3vLCOADDP55NmUDGzkc7frdhUqQwIhyln4oFo5yBCktC2SS4wseEs6ZZ07FjKxHU8oT6b2RY8DJ0RH9md2bK+f40oUMYtfKrApWhvfeBcMEEc7Rt+zIYKd4aR2QhORo0knx6K6EZ0K6Sy0XbrGl5WRZQmyAMa65wLZHfdzmhEwAfByq1+jZNerbYMhrEQwq2X8P2fSlolZhnLkPuvTBA4rfc/AAUVbm5CTBi1o5NsMyFbN4TPhAeJC8WW1ZcKF2H1nn1TLHSxjMqMI6BbDF/tnViiImUlwaQQa7TMNklkMyQkd7hJ6pRKXXrRTCt0537k11hw/BcHA58/Ti1wKT3nqTElpYZfyYAydfQJXOG3c1d6cx2CPILu9mFC0k7bHWVyXfJUHrG+U2jN0mQW2UImMPW+GnuHAJshpoD767AKLVp/VImSOUp8VZefmAzZVRKYGLSaa8ycR6y+p4pL6BZBtQuiRzMjV0epRFxBlwAemIOxX78TXH3iaQ2T6Nzss2Z69TR2WeX8PbdQQUxF8jRWwG8WnaCaD+fGT60Vt5NuhXoUV6/0psNTkWq5poU6dJXgX2CrlbDz0bJnvgFWFC4JrAuAu77If6ACSR4NisfcyXHKxpp4cKo512aza9/h/IZGtq/YgZ6dhEwV8i7RnhuwesyIF62aYrZO+jm8xiKtPuEo010H9hok89C4ixbc+cxqPgvbCSmAx0eXn4A6ENWr9PuEPBBtkKXYGx54gOvarHKbbIUt5eiFzgjoWERiaBCd7WvyA/gP+DH3eJeIBtih+x0wnANleU/Ux1jZ6en+O51Iq1hgyVTNzWCxixjw0AaRzW0Q+S+ibOY7bz4CMgrfMVff6VeePwYmh4WGu6RBZMfkSiCsLLeEU93m/Ribj6nGtFMfJOnWUpg81KUEN2X3Ey9Npf1x0tkJEC3Qs/cffjbmEggubgHYf65JTM9Hjrg5NVlBfJDdu2IwaTv24PQimi8ovj/zsIszoy8QZAjtfGq8sTSz8+ALdFXxnrF0XeQyF/cqK71OoKaDnDzqUIQI7iEhDcOdsW1la5gOh24CX6v9hK0YSUtqomYXk2dUJTR6O40GH+yb7/1zg4hXE4y5C4rpeqLc6q60dfim+qgws4MqvKeM1nGHPtUAv4MKxSkxp0tWVK/taEI8aEinjPWJ21RO9BOa+WjKW4V/g86RQeVv3OWztUeqiVdMMSTkghIuawfyPy/GzC0k3gzEi1TyZRhkjk+PUa+D6yEvcPgEmEC9aIKytQnUnwvEdGhuCg9ElWPxlpvs3oCXuTOnRqr4zD/4dkTRBCMmapvSc7DakPoi34d6otMU9YNINLZ7E1L7vt0WYcK0I7MrCV7gt3/L52VAcLhT+1ThbPAfmAIE9QSXg1cjWSOebyUfQCSFP+YopLyLbgxM2Nv1rVseYZ2cS95uQ678WW7r5+W1mVsSWsy3cP58ATwgsUFBOEdwckhUokbER7p8TLhG4cR7zv4i8FZFG4nQiFfhip4PN+hPhM2iNbhfHykuBs+LKs+Z0uO2xrRsFy6oLZL1HEe37v+W0rmjSbJRNYTKOHccwETrf/8pxrONBQgtcIwtw00Tlv4jycLfOwBMEQgda4X9EOp9WgVYJR5PtD/xvi3mwpckw4/pLNwVP0x16BSSufaoXG9K8xF/jqjJhZPss9xSP8MenjCuRHhm3LTVBgLWsRNld9FumWc1TMasIv6kh2yACsDIpQ2M579Ys++nmvIeAk4OU1Uw5rALY2felWSXMuUr2SYwaY1oC++LalIiF1YdWOol3BrOv/XTNza+oS5Ca9PD1EvfcjS3zxtyqf42gWbZXnnX5V7vjoAFCvfBqGZMYf2drQVi9pYFmZcqCJ2Yi5HkFpahpHexjWRmaqbTFmcbyVgYyPOWbF9ilmNqZSlM5zFahdehO8xpuORuyLXTsLR2JjVNfEuXlNWkXBC7oRDkihEphgzGNkJjaXs4K+jI2s/ZFfywVCQlXKAPkB9xAmFtH0kYtTNPpsi/OzS7mzYReQ5+3gM4veW/hDGs2yexuv1m1qMBetXEfhhQYUqx71d05bvhixDVHWZIuOQTqd7n4bFO4yfU+/PoGkqYM/u/NQvNlALMLytmEiSyb3zKR0FKWJbUVslVCuTjDxR6tX+QS0lyo8E80ZiYiq4JRv3FyEf9fKmgi5+oyO0nSaxrwv0KiJTp4T4NeBKfu7HVkMNWWAOwfk4QBelUqU21RHxLoIytX0m0/tbzzb0KxErF+NwK48CP+verLLzKM/UkNntR8a17xN12UQoSm99W4M0Ft5LbjOl5TG6gpQ5qe0IiIxooCCxZmuj/U+RlfYXX+T3DlIqWxNp9aocKy4uTLj5TBt/6E+qBNu36vyBPB1U9Y21fxElR/P7oE6ASNqa0GdYcRuJJ/2NpmmfOXgYcHg7oBfOuwxtHTiYdQzHddt2XoHwM5iVX3pGOfTVvOCRTh0KKwX69tAMrM9PWM6R1bQiRNFgMj/N19apa1mwmYX9wq7fZHcrozSsXzNMY5zk+6wO8mTzCXKvFcpk75i2rFquKm92cP5TVyn8umMlUqucf+FMgROWvPRDB6DIMjJjgSAGfjRfCEXw01SHVCETpSGH5isxJq6944jzChMY3WssMjfw3YX6pOdJy5eBD89SfI7g05DhOnEXrREXTxqI12wCninJpexBFRbQcP3pk+27ieH9rgplJ78BYaiLhurz5CQS8QXsvV3/NZ7TMfN5ZxextR7SS8a77d2Qe33QKSw14VUgf13cW2VyH0RVySxVqsztcobF74Wh6qb2CJwlN9tGPB1QrOrpH3zWS/hHp1Lh2UqcgYAdmq9E42ZFLZ2L1+IMUJVvLF8IN8Bcgi1CeuzRMTrxmpOKN7iUEsuVkonN4ilQjzySugjLKyhJnKKs9/k2KF9twAVkjVDXeTwXUFXjNgKkvu6ao+2B/ZzRNamxWTkKupGKBpMlXicoCxSEOi8/IOyq+cO+lYXeNBLfmqCAy7ZW7VVfmwhIvTt1+9iCsn+qapAvha9lfBNihCJT4qGM+oV5gOAH2cJemk7FrVY/xA1OV/pG2jnhpSl6QGVb26PpSzF1B83zOpBBvLOaAmstkhRv5W8VrEvvmO6RDSqI7hcYOOlpNoYCbOI35FAkdFZ9uufSkskRDmBuGjvL+pzs19xgitfvIKVnarojhBJHcHiT+TgXGz55UU8gbaCJpPMZo4aDJkOcDGkjHeBvD61yZfeDWrE4J2+gj2apuaivwsYmh4YoBn7zYkSRy7tKAyZ+2H2PErKhomhbZxcA6sKN8WzHRkGiVNxIML258gejSaf3E+jkmY8JiQTj0YlTKj2pHu/8dYV10YfZgER/6PaMUbjiqcdBfSQGIv4L5eQHWe4D4HA9RGRH46WT7vPOvdFr0lnt4AHoLE8C2vbtQOaXG2Mmwz4STk6el6Ic4ZUXoz6BCyjU+mAvjhr7fPk1bQHQPNynWAV7gTs9l8INFGti+s+jvpS3qsm63bQqDwPFbvu4j5KB8cxvuo9anUY2GedCrZsC5XDThnhoEqXBqX8QIwJsNU0dgDyKLSxk1jzZkPUBbshhjxN/11mmouJ7OIJyXXY4aMZMGYQSYgJZ/3eZ4Mj/6PrDoRcfvvTPDIlmIvQFEt4MNmGRo4mHcAF0b7fkVwVtlH7xiPDU0xKHXJUGMlzRIxt+RyqE0xX65LvDjp2Bm8PCOZQ8WtlssNRArwPh7g3t9U0XANVoQ8Q7gvZRHmPYfBpOhsvLdjRuGaydRtjZu/c/SVrQw7kEQ1CATewHuCkpX1fQz1dtwf0pDTnBHS+PHvfkyRaIrhC4KME5tKS4lFHH4IqiQVt4sQFO+p0qJSQKSKwHsLXnblI3c66GBhj6z/iTzgjuIWeJnCJvJIx8abVXLSOAt8a/BALDrCWd3Cq5IMnbBlzeDtyuIqjvOWsrR5CVT3ABpOvMWdltqQmSXeVKA3ANbFHVV4/OnJ4VG0Lg7U+oKtnR7Bng4WnrfM+l6ciSQ784rbEAUt8ywqr5VKV9xUj143zlo/n99U4wBOBQe1rKmSn3KNjp3ud66y2Q5ZQnrA8WLv2YXTuSAPeya9xp1dGoiryZwPndiLDNIrKA2dFO05zbAsO0SWYBgavsLsyG7rdYAHkV365H2DFsYXfx+/t3vfhOv91l4cOfS7NRr8cYwx1SG4VBOKc6Jzrc0sjloUb4DrUPrD2jqJhf9JhBTNJxgDCliXDysEYSiHkQBY84obSsTAP3nQ6qaX/iMXXFX7HeG3eHAtgNUHx4U6AUTNWB2OS9XuhYa9Z8Kx3b2z3ZVGS0JwNYMfdqk3fB1Ry1o9cEPk1mgtwD4sKmRNw1QYM+TrlzbIWH28wWEi5Bpour61NEavBNj+MlPHFiAWJ3q4CnU6+jiWf4kVOSbjnExPhJkQqJ/917a4wjJVavCt3TdMtKT5rTt42HpvvFvqPraoNxEub4d3QU6HE9F2bvayhytS6yu9mhQexbXrnmszoclgSSjpan8D5CLVgmEGy9C40eKiALprK+QI5vC98JgCAAEtPuBVVOfgGRqrgtcntNL/K/RE18GH/aK0o9R5nJb8JO78Dv5mgMmdkbW/55iKojvzlrrnaAqPOhjUM4AgHMOS6rAeP+DKKCg4Ell8CTh027tpJhKAgDITPnSp3HbxotNMU0kDFSo+SjnUTptKQVvmAKbX/8p+ulDNceHmqLRWZiNkvKsDIVFEcWl25mvF9aJCvamHgsVb1CtHIgVVH+OSAkcsiIjcVCfbDMVCZTfZ5Z0q5NoLcoEFgEzjDGqH65GdR5ejRQmjBlsoo3fUhxtBAy+g/gm6ZTX6M0cHDFXGxPmbKUlNqJ5EVFkGqfa13oRkkPvX6ZNjCnRib3rzWVXpOzPleMGMlhKwvZVtQGb4MRT5YNxeInzyY+DqdZDFYRHvBH8wdkhlrTp0u6efM57zP7g8P5pAKhpp58cjyUZG0hhD4i3CeOX/OPByvm5RcbnGZDdhL57i0svpmBIQd2CNWe4j40jeop4ia2l7qzadgXNLiLptrkI+TjvlRVmCiHJlgW303v7MTDtww73K2SbNurpcuk8z0qO7XawTtDxndDRUvLrx1E1s6RFul14giwwB2y4cYmdo1oW5ElLVeHzRYEDlNJYIkvNUYWBxINHvozzTqfqRO8a7Y/7nYBDJzLoQ2LeimshLXyEUgBPC+vEnZRlML60feBeujiUSKLEITCgG0e2IJM1YSKROm8vh1Z2c0Pz2ej62ELF2ZOmgT32j3esXeNU9om2xIiBfL9EBMvsVKbielYIxFJxkATUlJFnolOZGdtBkBMJYuNi4H/0ILsylrZaaxdBlXy2zgbVJpRcb8ldHIuS8a+GHRPBsNLZnfK0EMvPpAO4xQEpGimPtabz8xUJwZBQiYQUmlQSCjQ2nN/joluRaL4J37LGFnNQc4DTz6pdT8djQfoHB9hYhDgCQNcn388a3jp0WBsr3cTXyMCLeXhzUy/DtpBHwl0OwnoKsiUei2kAApgO8pd0bwyV7aXIszJMpwTiOJCWMtPp+ohlp/ncZL7po7va5M+S2SOkTyL+jXfSprT81U9TBeBMbSJ2YArkM3Eec+SAWKBkRU3ubQzCbajW9cAitXGqTt0SHsmP0n+xxhOmn4zzRfNQH+Cqw9ppOqUeazCv0P5c5Z5WoWFOD2RP61TrsEs1imyTMwpPOuXFFAdt2wT6nBYuIock+p4rwJPGnRWdyCWFnDGvsNpuzaZgZf4HJWfzjD9CP9eFA/2/GEzkw1vsVlj6/A6sBB/b+eDWI5izp+3N4QzTWtF47yJjs7wvjQZliFusxUjN4eEpSE2n7zy1e+Mq2lGwtdijTZ4Q+RVZcsb4Jl3ZbLltqptiPk3wpK3DaQAZsQY5QBeFctp45E+/Gv0Z2qbI1BoWdfFzOBJBTvjMQiJVk+bo5OFGM7NRnJc/n+BgrCv1Bj5rxA6lrO2rqPvA0OmsVf0WwbUcIDAT9Y/RwZ+H1bQSH/TrLcP8AeEDM0YNMfT4Z6nKSqH79VioGYrdOe0OGQ9tHwXZ3xLQQ+trI8otzFejORa4Zatb4mrOg8NqK19jQHsIqfkAyufdAhlaQsfHXtCWnSX5ss/ia/SW6DV6uRiLCwRSd6BTMVrpH6FNj31D29lfqFH4VhPsjkZ5z3N3TfjMfGrBN4IZBwAuDsOMbtBqwnpw7ij3LrB1y9GoeQ/WZrUUEcrezNRhpGq0QDTBKafjH55lvDOwoug8ybhQ3PCMPhBJHfkH9EembUqhp/WJxrjrVYpZnR0k7D7JIlygVkFZbvM+2TxTf6/Hdek0tiMvj61mcJtZZPRvU0pPKDx1RCritlKRXPEpF3DuZeNbKcH/RvKgQl+7DF8qOe/laEz8mwRTSpnnJ8TyqhIMGvFB86YUxP/EbkVFFER8fhAKWS06X+gVUq08HcXphxh7jsBmMW2NUl/2g3yjVSNfP20KL955CECikMaBYB/gleTxgXxqeVmsWnfiLEoV9LCgAHIYkCGQlhnkZr1A68dS5vXX/CealTjUh4ouVaQ4y3M8Mtjj+RdzgUKull81AC5tc0gYn01cJmtVQOJ50t+JSRM1Vipv90evZSEizdQbcnTjMlgSaQ4c0svJSCL5ScBV3Rm1Wyk3NYYTMcpNHQG2+nF8oN5eEcDoVVCiTcytTqAaMsK1YkKsGYjukaRqeRmg+g6oaBK6h9no4GRbyKsK4Y+zr+sLtcArctyvJVuYyT8QwGEAlBDJZPH8BRgzVMOFW4I8QOcK6x4hYBSVq5xaPe1/0l9w49PyOqH4XveJEhdrpYyqBKHI4Y+dWCay6LPqeYDYOOc2eonYjgVJ0e/7W1/H8Ju5X+4JkkZKUm/bbACChZ8fNiXxgRx7HLY7BsSCHRbvrQTXR5TfMVctwnKclWK1osRTcxtHWLXDW92O//UwlgTpoYQIe+SGj0RbRq7CJEBur6KzYhKwOK//M7rU5mtnsW1ZzLj46QUQEhJy5bg2FDdAE02dyf5r0pARxr/iA2rxo9JP4MZ3l+fFy+cQmxe+EjugVNP3RO8a3iAoTyuJ/AeJ8VohC05vPAUYqOkqzGf5y+zLg+LT2YoYCR0Lb7iPVTfZG2VROX5dftm9ohadsiXd4blP8hR7xtpujxDNtQAgfGIt7crrHjwT8Ke7wWV7EwBFEP1uvyUg86MUvy1mkmsSVmR8oWZPuT+yfTQ2/l4vJ5NpVjyQ9eD2wHMJ9rmCqMz1ioyOrdvBTZwQttxmeuaSHkAweLWAueKd7gf53TdtCo71IlXNR2PYTEOuw8Ler49gVNMBt3NOIc2N2goekKG/gytGgAQYPqy3umy03LxDi2MRs5c1Fk8PozbuE6Z7Z4jymaBsXouMj0cvAtHVVjbpJOMsQ6DN2ef5DYc8KyexGQmEnYBuWwJbDfggjPo7iXEGlyx089eF3L2VI313SCzzukDZRIgE8utk3L5MdlHD3Ha5Gnk9EjkypQQUUQoJLwesvSesSAesTOJkfIXjBPw76tJaVLHVvBscKox0c2Z+glmAXaBVaYUd692m+hJOubl1kr5cCq1hd5tb29gi4HV+GAlTEiS1enHIvHCG7O49lxpjhenAZvcAMP5KacvGlkH65mkyD4JW0CN4Ea7Qom30t31UNBjsYXZC6glaOVT0Lq99ax1CNK+qZkxHsfs97AfULet+ezr7I1vCafIleSxddsnMVbxPY9P8Qbo+Z73uKzU6DH4fQ8CLVvlOCTauk7G9iXLJYYO4Ia3miOZFNX3Ncv9EGTc8/T81/KVnVp1qE6rrQ19CY4Uc4WL3XllsJTiayxPCc0QEoL89kxy7HraSkv3ljFk6cbNLYaKNB/zoAMw9YE2Z5S6DNJmekyqvNMggEoF9BqrwERjDcraoGaX7JmAiftZMXDhCc+rn6ap3zt7ZCC7lUXuhwYXtq9/KZ9tG4ue/D9wOuBlg01iJUAulftbozQCU7Jq/++IJf/wG/QvvM4PogGTW+NEnHh9BuqK27Xghq8a0mjmOM/P0hos4IV3PkynxAgwCh7OLI1QVX3mbd2LVrA5ZHbdvRH+e8X0TfG3XlzngS+S+BY3PpC5iI3JjJ4ew47/SAFPIgQ7bzLiOUibiGK5dBAUcWTPc348Pmb5/vm6imHEANgO69pU1BjfqyiW+EU0ZVUEGyks4ZX+nlVuSLxgacB+AaHiNXX5q76iEsM/3cKoOLc6dM+AB2SIq4sIxUtwdALprfZvTQBJUatstzNbl0TRefpHx19Pb+3fOZKremmP4we/TqQvnqsHRwcu3bACz014lTyKHy9v3Yfkc2VN/IPEMjElRy7YR4Rn484S1a1rxPlNMiIXix2fI8RsDmgXp+GYntLD2UeGKBBPVg3HxaDYxOmIRx+bu1NcWnp64cHeOKL3jnjS4l4RmmVINTDDtswTs1mMvCLE1Wx72yv3VlNdugktj4XPodKP4XSaiVfxqZ0i7o84eniw1DhYqWFX6Zym1Q1GkIps18ihzd0jb5Ss5Zc3CNyi4QRugT/W185aagJtwG+BDm+qNybZi3paVDKaWGCXO3BliysCf3AlX5QjjAmpUmSQr7L3p1tDzqCbVzTGsakLGcEcUdv2CCUuMG5L9mEquTeTav1LMVVPLuyKPMRbxaAHz61AqZCA+8Yeo5LBAJjWMl5SQjIrtzwNAbEvw7mzNKQfOHMeseQh/Fqb2QDDbzTx5IVzjJR3tXdn+qrbyxfTYnsW9LERzxUsM1edXKy2og9V5RvHF7Z7J/17bj9nETAm7JSnZL0oLwVINQKR+/7DRxLwg3BD4xy1rzSlEhM4INAKdpZnz8n4KKyeRJZxcYRz/1sVFaYZBxto7HkvEIxkfWCWy1UIsbKEHEQWM3YRx6B9Fz0QHuSWb+6pLkx+3Y2vY1+zj5uCU47NFLMc+W0hrqW+nJYGja+ipOG9z7O1RIviWBPEku886c771u5WmKf//XLyLbDiEi2lRA0LCY2o684uBm3IXeAXxMRk2nUdIeo5Ut9QeaS+54mVzxjVfl6LxB3j7UOZGMjgGUZBzAJuayOEPcumHYF4ZGjAlm01N1DoFHHGJeXAcWxuiwfSwUxcPirVSsY+Pfldrrd1T3WCEtHXzB50SNE70Q7tm0QnoeC3nwLcAcb792DivHrmzvNUhYLTwLMJQEmY0G9psjfVVyAlvLn/UzEfaJKJntortHr0F0hHhvPXTiC015wR2D47aiM+04/wIsp0p+vERw2o7q9n8d9Y+2IN8qyJbk+9lsqvc9wLZbQ7ZRwQH3Vjcf0YR/IbNWg0o8r1PqzVaOxw8TcQOYEw6h/JfqZk4TjEq4hD6VWq0rv83kXha2b+TO/1ftIZWNfTU3WFlBN8JJhKQ0XJtDN5Uq45l/jk1Zzq0PlN/xCgIP5UWdC3w3QyGTI22eQhmMkmB3n+clxEubjpPNXQywricrPWoCi4wh+lLssrrpwksTbztfya6txk/UcDARhAWAyMHea0b/iIJSoA510jMwUFFRGyKgYylhTh4j3gJWG/keKowDRyCEJ1FMvR01+MS4I9ty5VaUYQtpe1zlJMDTBHzxggnGDXMJ1n/D7ajJem7zXnA2BysgCrAPrue9hsXFYBPlywbXNA1QfUwhPVYbqhNpuzxkbFNgKQEcldfCyVzNEXsV4pzSNWOAYwwogDUXLBCR86zdyzbHJiB4BXLLLgk9SiGSHdor3itIRb9iZObO0eZBg3K+1TNTtmFHCv4nmn1ZvB3iQlAHfDPXg+KBoeT6Rg3oU02vMAXB/Ag9GZCKNdp6abu6AQYys/HWS/euUuHyWQyG4w/5b/OePGUoNEPSUJR4LPs7oI16Zztg2eYhFuiKb7u4rP4dbyIVYL9eucA9mHowq4wwKyRX15+X6WNW1ugQHNJg7DIPuX3mpV3PAA7e0BYgIDeGoOTjv1yjQjl1KlcVhSHkqT5pXpk8iTJ1g7NhESVdjHWjiSsUMB2z3xZHMlTHuGc1nuokCJFO0iy+6ooETsnl3dB0AzVxmSWe4a1ATwqEkKTjuFHNUk8KyCSkC2MUocKDgQjITaiOSx6gM1q1nQxchDFAifK/OxK2PSrKuE9O506fjjvrTs3biBLnc2GSjsoxjRjG8NsAFXC8nxu1QF98pQhvu9LTJrR0Kuj8y+rZQWTJSgrM96SDo6bxjI3Bj8vIsTw0z3RtgCeAQ1iXG0CBBDZ6+rQR9qrDDI9jN9ZrFcc4CSZhL0vuwLkvDABvBo3NWfnPFRscfnbPEWlQFauAD9mo7wgEuY1OURqdmZe3EEL8/cwLPf/riuCbeYon1iz3l27ajd50fq8NAhQkw7d8cYVSp6erUZZqflMCMuPpFK+zXCWs5o4jZcm77wdXfu+mf74RYNTviQKI5wBqvOjE9K3Dygho+gPJQOT5snBFrOTanSbPMe9F+kR9OqxT8GMcbjisCTe4Ue5sIikXguUGxNw7rxV1ZinUY9ISrGsURZQyQmrEQnKotHMiY5I+PLBkX18swxrDZSkkeYYycxZvem59fZmSIk12eB/XBGra3Z40SyqtMhyedW33sdqhuZAm+TQ353tu0ZnY27MKjKST4PJyuDli6Wh1lGznWp7i8jFs39QIxkEHiw305h0q70SsBZtNh+PTo1rhTIkX5P1e3/M2AeOa/SNOP1a7lH5q1XZUCWwEbySUB10diYySbqjVPfEbRmd0lTaNffDVqNVfCWphuddWlNhPmQ+2E7kKNWLZmZfLZ7paG3o5kuk2wQY70zRl4Nzen5pN6bdRIcgR3UZCH2uWoEHEnKKHXtxl+0EzWRnZq0PMWYjIOKs/zSF8hdEI8WQeQB3cH99LELuooLfj45UOFlxksJfyYaG0W4AvWltjBgxRCCP4vseO/gcCWcTIzWIqGmw4IVnFyoOiPg7VV2aqn51fzbwQJboa9xWjk5VlMnH1g70/+jYlYHQKRk9JHsPQsYLKLN6fqWFKGZNmm4/2ZMJm+8WTztHImAOZMkxKHLwNa8NWIry0kb57v8O13J78GfUkIdfp30X4yApbdsiouHpI9N6sZlEYlB3vyGzzdxrli3B3rvnVOqNA7kyHWL++Sy6aQT5ce63fnUKB6WInnBiseTvwbin1HULNHHGre467JQWlVnN/Y7WbLMrSVz5Lxkr/WXf0+VjCWWjHgaJ0n08paUt2Q7byudmd7yPcYsrxzSZIPQz4YPQf9vnxQV9yJA3+/Yon9bA14z7KA4cyTuf51yI362hq/MoW2rikdtTYWYyto629DxB+t3ZHKafszvSQC3s81+6RLe5XgN+zolRiWI4PY8F3Iey1O7MVyEhD4QMwAqN8Jx3S6z+UFD838fpAm5JmtdyDz32eSUsyVM7NKVhBy4wGIg+yDEutw5bTW5QsGrGMpzKvSCion6/VQQxDft2xym/qM9LS5c5o/Szk98eVh0AoDuQ6Grh6y/E//8xClpcWyZ0SI7VTvnAJWYbNm+7WFYU3hxO+opWaTsxwymXu5JCQZ42bSEqXelygEWh0UzsIxhnp+CIxN2a13iS5iQjcGerGesGuGPCe8v1fdOoo/ljoohowclVqC/p/Osq1NdQBvzjvouQfmpDuPwieT9UyEqJK3kEi44mUc+aFAVJbMKLNpLPoV3APA21vCOd6/Kdts8U2HIFAniEyR4W5g+xw2UfTD0v5y+cT21N9uTp23hu8e4U864vZoCJO1OXTx3RPFcIrbQB8jJOySletaurGJdYwdsgjSwHjAVE2pHLng2OuuapuYoJ4IXipgsfwMFs0XLWwedcCS36ScefhkxbOS7IqHv7SvnZ/576H2XiGXS9OkefaNcpCi8w4swELtLklLkUpYNPpMrL8wGkwDci80RrEa8LJ1yCnzqNuDmgkD2lNklhhDjtELnE1vbmtDLzF4XgX4jR7mEXiYl263eZHpqPCBBAJ1NK0ClumgSurAEbrdlaw749MERWTJ2drJ478ukBim8+X78u4i9cLN1SK7RvVrr+OKj0niKmSrfOgvSxyawRORLvkgNtYNglvGMJuBscZpzEpnIsXSEsEMaZVDAR0OrgNdu3sVeWfd+LCX9f0uBx/ewouEksPKk1Nv5vcxOkFosWWO/0DljvFSkqnwgoXue5d8MDu860f00qj0dF7Z8TVVmj9JxacIIEOFs/69u9DhryziG1GFllCuZ/8GBMXNpFLHvdMv9s/mVoRDmqGo07A6o7ih/Tg3VhpFMIbM31uPt+zPwtLUP4LG0iJbWZN+ekH4lbiPXGKkjSUtHvhGJ21uD3S/FFt0027a/C69Oi4bV7TF1mZ3R6ELJAwCroisO8psFIhZKFepPpg/hMIVKzSnBRamELKqC1y5bCHIJ0FCHUhT8mSRhMEVD5WJQexNWLQW3fr+5En5+tnCX4LOkoL5WG9+OnbuA5TF7tD06EWyPFXjuuKRVns3RDcMlIsyIYoK6uondoZ8MCk3o/r/WbpZhqud34t2yOF8PqwogizpDB26+o8GoT1bMSA3sRMcgkvCVjGuRhpA0uw+J+MAd1r/H9ltWH8hd3vlR8on+0FfXEvytC4nmstgl7LrdzcpGN8RHUnNhLFO7WCMnkok9PQY9vws/ZSWJvatFXY6iVoVT7QJzWc0j/t4evn9Zkcn8gRpRP+QedOd6NBJ4YdpV94fUrG6bgAyaHeZgU3z/UZC0TwqHJnMj+cFIa0fKJYuu+zC816CYxAMy8UCcbMxKxJmxwYtzO9UqGAiZ3cHlctKCvtwYtHLBTeCr/G0kezkdZ5XqAW0AOlNlEXoD6G9QSjN3BujOyDmRH65OFcOAn1i2j481L5xke/9dNQbV+IxRI5cthS3BwS4+B75NsVVkYpzZMmb61b6hYgidUpQUHTJS6ZO2kY807f1uw9SGPqZNEjzDI5pEhHNIWLmSfsJXRt+s5abEkDDUo6v+fNA6LZXgSaXo+thT728eJwAF7jsu/hSOt+//nhVKHyNyvNC11kepSNXNHUWsYLUm39AHwV245OH6/pVisoq/eQye0LzoTgfVosiCfTC4ggb6+cAk26IHZnb9j48PHP52Y5LiiXcRBcp+/KLph+2h/yC9i4YF+EpFiB10xbi6DIhf7in9SwoPGO+F8H9Ok8fc7qYBhB2jpsQNJiIwKcKT1IM+wgG/fCtST+aohAlOSBOkp6kWgl9aj3s3l7ZBMM89dh3AuzG6DH7Ib6JT2XLI7VaWltYs4EIelzpoIBqxd2p3HDt5rhF15Q+KVH7+a/ewxnmox0UrrIp/q0VP54z9sbgM1FAYKlFMmR8eu9U9Bpx49VI39KY3uPtfQYc5Ap+9tjEtneJzS1zMQMW1s/MZpA8JRzxt4IdLUyEkz6xXVv0AEsJu38eERs0Wk+dkta3iP1UMSBhHp+yM+Zzxc8p7NZ4jUdgV9LepntR2tyIZ+wIH69eBC0X+y/MECyZ4N6EjdhxZgsndchsZYKeq1ElkPOao49reEBapZhYC7pGbbMr1mE+AWP9dqW+l7LV5eODQsKE2J24BTXvrsIgvIBt8VFxN+/4lZJrQF09o0SKqW5TowOEwodDX86bGVgoIUUkZ9MwXUKTaq2S1cNFQRCc9m1mug6NCXpEiklinQXtvzA1+LVVzwoIMC9RH/VvKx3vBAkaanMhlfkXCmpYfoJ8cx2H1hnHE/K2mv/ezhLumH4592WURStYGl5o1F2wSXoZtFwYr0h+UF3xVCqTvEQG0TfyM2SW7LFkG93XNl4UwDvcuu1uA2mh2dOfdZ025MHO0XiIGvASDCuo6cssw1mH3LVr96t0qtEAPbkoxipjTfV9eyQ22oJOGHWDMhT/LPqG0ZmsvrlWy/i2xW7EXlPUT5MxqT7aoixbsIPK0GxM9WtUbRBOHL6ZBlSKORsOBN2MmTc49vJdrAFWOKxLylH4sZXUJX5oj0l5kkOc2/slXzYLJMxWrl0L7qrunT0izAVNUmBy1lc7u0suZQpm7M7Qo+oOG5Jl8ajN2Wxa/fXVkqufUKVgfRm5HyAyFw6KTmZ0jKdnki+CtH5dJZC04XahqxoO2no+8wVfquJB8xiHbMj+Eq8CRIlqseqk7ODHhpHRjONEgX7XuozKa++ENG3SUHOR/GnKicgYS4a+EXwKicvIO5AD/39dLeRbPHGg1cIdrbMtRkxhfbxW8/B3IAWsKY1NU82q5Oykb+t2tqqwcW8h68o44DP8HFm2bjqnxQAC/yaMx+iMGpPap+1arSbNlIlzwAeHyEqnMTCUWmKH1rLTYeTz1Gnr4skRHXRiZMUgjUzjyP27RelGokbc0+W7PXKob4IfxssnN1ZGHAaowOEFdFC5U55FT3Li1psbN99vEQsZ6xmzuHqOHDvPSbhkKqmPg6iZ9lDzbjs8EbNRGqVHCYYGgdnXB6VrGSMCWKey346z7yCSGStmN2jfSrMq/fZsOpNOggRMZNfny9/9D/ByS/E9cWYnh3FKAtq00CMPHl6w/zXf2oVp2cn+GusyYeKmbNr7PeYQpz5KJQemNFYiuo2Z21ecgvQsBuXlqTVloOtlGlf0M6iSBe6GM7BW3wI3eFz3I3QAT4cP8+NLZcP2Gq3IwC/tnLIgS1lrm3GG6cKmrjC18yw/Au7X1d5xmLN2hZAiNr9HdpmfebiyN+nPWH7qgHUrvHNGdhtTZYdV5c2O5Tlr+E+nzE0Z0lTmXbyhTJGr6bDqihiMs5pdaYzEXp1/S0ODj+XvJyE7Ex842p2BXk7+lPbI2+0BdzOwLYC35Cy16lMEMJdb5s50NM00+1wADzUgqkTn9xv2MN3HHSreUNa7BGH/crqc4AdOUjg/jaOtPsf85/5fENwu+UFZX5RIf/5qaIUxzRJ1dnzvchoKUyQCnaBIJQMK2bNC8KYKUCsGaMEWOu/J3kXYwyEUPMforIXzQgrII2YbB75z4iSX/HgEOhAP9Al8Ze0oDXpwZmJUh2v6L874AkQo3V0CzdmYhf9jkEsm0vNGa3Gw+nL3ONHXo9WFBxYn4O29vC1KIAx+0iZzMup+pHfh79QP9VctcReGbxoiU5TBsNpmTYtj24lLxQUQBW6TDdQo+g26WDB/la4Ya5gWoxp8N679TP7ELXqHj6Ff0TjQbHKa+Oz7OtwAK1LuOoUB95ncwyWi7ErDlHYQe8zy/eTTDQvRk5vKAEQS+ICg1X6GZgCChqVswwJpwzbFSjLmG/WAFi6mW+HMjCOjsBnCE+FNnFDC56Vr0l5vH/AALWe7O2v82nplzIBrX+cXiRtQeeFs7tKndhO0Y79c66eC7Sw1dTk+ZEGV12Ru3RO6hGApHWOxKVAnM/UTqbB2ibpZ1oF3kjPw/8plp3FibwvpU42ScCJMsPRrBaOlvF/gVg8T4lro0t3QlebVw2IG3ZNB+n13HkpxD+sdH3R2A9XXKmnS5/WUNnWxpXxd2mVDwWBGDulg4pugLuw1Sn7qMKAiiXo0uJHmMkSelt2NCKV3lr6iw05XP1ESLEjhKvg/yX8Aia35dtvtgDgUmwhtlmZoZCBYgSKZW+3LWYhH7UCOPxbreoVnnVUs8XClx15iSObTNx/q405uGmLLynuB68cZe2hxz1mH+Ol0RLNeEmqSa3LP4/QxeY6op1vmLhsP2YnBMb0GW5oElpQAhSVBYr3DtBKUZBsvp18BalNZjTIVoISSuxVjARSTrwdhwLbUcIA+K50LWV2f4ynNR/TGiscHce+T52s/Ms/B4ruK0CJBV+AFlGNJWV9nVQHNDqANyT3/w0avP+7tbmvOUoD0F4/SQ/SYaW0xYD56QWzKd6Al20JrUpv+DRb3GrTABeUOAM8JxgqyJOgK0XLrBYoyAtaLrkgxx0qrw35t4tt4ChtYP4ZoV6Y7hoIjRNURHjdooZqAWkZFslQ+paqceRyesfvNRw1Zj7wwfMnvfndQHwm67F5PvMjxXh6IiYxpA4pztZxgL9hTrX66joSlgpm+HNXgwIQleMrhYugf8ozTZeBwu7nOg3DBNMqt6zdc5SVPhmzlf2lRRhfVSJGjf4aqt0L2Fm5ZCXhGzz+QNNGpoSXyJNMrgB3J4K+LA6yMSnEvyI6PiGR6A+IpgvHU5JWkJcPSLL8Y9jv+EIB/Xl9nBzVIlCbgKBMXr2tC+DGmMtyHPmNAnWALz81vvWuvObS3dC5ZvMTZ9VLkb7JgqEN8/fM4vJKDNk4iL4fehGXU+suwoCJL7haINhyIvJ0lIYmcZBSS97kuE9GXWhjAznz9/xfq0uyaNPH4eI9mgWIyhbhC0ir+sahWyBlfkfma6Pw6eQTtIMEnNfvZb77EnF+QhYgmC+/VONoFy1i5ePb5I1TTsguz3g/f5wErZDo90TOoGygEfrEy3lmR2n77B1ONV1L2YTJciANofDxe2wmIhK7pgUcHvs6Rp1Qn2RGJ1COdskD5xwaTWo+KzfDB5CEK5Z1cWygihtMC0gQWC8apz+1L+CP3wLa42E5qKDgmvxzJfvgnQwPqfNL4PKmY+OnKdGOBOXDnoIhDsn2B0euTwXqbgwpjJGR0ufpRCAQtHn5eISSodjNZ/90fud5sOWUDhzApEBy+DqHCxRQ+4Sb4XYByJ21Edo7gI1Z0zau1CgAALeUGJd+AYGyaLmPS1aoDjvFMEpkZKshF2ArcJQAoGqMwm0+/9Wvkwy3WLipdScw3+ECDZgDHZkoywZLRZVY557Qo1GjMrsULs/zXccvhTko0PwK6EJ+DCHBEboLy6vnsRlyPxTLKF5MuJxi5fYJVrhS3FCS3AzZtibVVeiK1gvJoNCtkup9NmFw7GUI9uvfk4t34lhgHWx+uWzAUCZdwCsBY9LCY2Hu9ixpGP5j/9qDvE13SCh+Sx5E8TPoiRXXIFXa7hG3jNyLf+4l1kv1JBbFTU7JkqDjHajqVF9J/LXmV7aVePXXnYunLYnvbx0ej+ojDqZUw5afgDt0nGkhAMYiaZ/7dkpnopOgjz5X3dhwqXWLwPpsUMXxfqXmXl/pXyWircqVkGAAinLcV/6foFergX+rcMAphzFbgf8eraYfgnnxd4ZBFyiiMxzaEZ8MxaBBeL6LNYjfhvN8Na5h9KHYME6cSqVBNg8I8kYjRQPBRlMxb76YcyE/558rMGzxJG04b0xkJqVrYVbFcVwWMDQOIJ7yczwBpweXIsUGvej8EAWppgZ1RxPpOCOs7Bhsn3hS53i0LCLRcdtd+IWyD7Tp42XyhHsUp5VMS85Bz3ZPgYN4BJur9BZk1u7hieIo2LT8OwvZypg5lr8t7kiJPOSoGqdG1Rpb2EkjvjbSVc4N5goNy/6qy3dyR70zDz8PCj7xQbIMw8yCXEGfCcIjZPTr7+lgJdHqPFQ48JBr/bFyk2UXj4sKPjq69dNpVZ1wBJ9YM7q7A0UJEopllYFwZ5lsp66fRZMg53/sfQqM+lu/L0viyEGtxdXYN7dxFFRi9LbULNbwXzH9rN4HV5CNnTUkYXUNnlZqSfXf+f6Cc0Pda27Oisv/Al5pCbI4w+Wh8UJpElS3lTfCb/3ewrncN4e/KzChk5gqYbRFzq+Wf1tbNg+rGK442SxsqfzbCL1KCjd65e5ZiiPAsdI4VMVOSmP9u3S6Lj3pINMfhy2XaeBYWh+uluPRUbUYkCaGajSiP5SmFKmsIQ9d16W0ZQRiNtxj7dRbhwghjjbAhiF3Cm9s1O23N78j3dhmqnwalQabfbn+JM0nGkLGi6eULF0doJnX47FPckpIz+3qpp2G/bYIEA/XkhYs/nmoZ+AP3Z8SYJT/3obTmMOvTnljeS3gmYSg6PJ/y+4lqCIB5lkSLNwuJkDsku8qJMmtOPG1epcxIZFnWpVV2wlt5tZTGxOZgROG/1R2g1rz1yZgmuMn4PlCTxBiTpaVfdYBxteqnN9woqi/b7lYIKM1hXl76kxMDHdeaEBiNCr5nEjcx6b21iv0PBPaRn3bXhJr06gy3omiPAtWHhLn7vWvV4H5H4YOJDD5sv6m6vFNlKg82Qshl2CZNsHGYPiJ1r01U8avq/u5qJdFprLFNZn3sc4bIeWYRetKjJB8mtzXNagABzLunKFjhaasMQ2yuI7zm/W29doZpLyvkN86tJcFUTFikJFPus7iPjBwPTIabIEttAIyrjGr3LJkSZt5B+Om0eykpZ9LNZ6UZwO7JBkvraT/2BuU3WoZikm+kawiOYSmbc6ybTjgiyFYbiRu3FZN3y61DTluAbfCgSmJmeFetCp0MV7GLz/6FGhCaz3WNUo0lfCn0gEsxo4WPwor4AJem5RR/5X6MkhISyp+JUpYvGpoCLB+v9DYva7zsNoL2DWAEfx3+MCfRhXM64bJ51ZIFL77rsTd2JNecK5d6BXH9RiwURHYYVHlsLTLbOIyx6TphTP4bt2pvTfKFFboY6WbEG+9cxe78KE6ZlVfbbQXBsEp5vlIZkb7d97dHQUa4hfLdblQc+xITzedRl4OUxTtDEs5z+0xuIl+0u3+ycRUviRIsODFCZA602W4OCoLc6IU8u0r+rS+XNHTnpz5l3pd0r8UIJVIcU9NHxQWTIkG8EYBOni+BZwUBflJHJrriS+T+919q0Dzd1ecgQigo/ygGkAfL3Wru0DdDUO5lqM+mecHszEpefV8trK2lsZRprWqygcVWqDFsK8Wvph8ChOQiZC+o0KW37CnWDZOUQNSFXuffL+aLwIvMfXEhb4lq99Yt6WLoUWeYU0VidmvP8MslOcjn4gqlPBemNUFaUcVjk/LCiI18uAiNW5nL1TB5TCLpiu0svyeCHIttN+WZU+pK7i/utXi4709ipkrYZ9FqVJESYJhnxMTEw+defLGjxZW3KEFe9Fivc2Hk7ukOD0kCk+6QuOq30tCidnC1oRBPMW3rBfJ/4u2RhO3cuctadhnax4V81KfFau9G81w5nHQRo8yw6cXJ/SwsMAGj9UCkWN41IWQ/7hp/cyuaCc0nKwetzkplXuvonmv/P1dFMP+1T7d2ewazEqn3D5KN+Q5Bq48d47dT+Qpvg1E4ZqidmOR/lCqatVaXoYLcqQQxxPCcBkLU9TzyrEoR8n63FonqKUg7ZPtg8wIOuuMK9WmejUSj94iuQ4r9joFqX5OEdfkDixwjHe6rm08V/KRrGgD7KmpLMamfyX99ZBdbWqXyYBGJ6SANpwkkGfPtBwWrTRaTQjv4SFtKqMXdW8eb7su0SMWV+AQtx5vI63a8U+Ay/kbO2q273xIC5fzszaAZpQKs1RyXI0nXZYLPEcBjp4dAKd3G28bUVgTJocpeS9BYfjS9WZ/PpCpYBlMRemlNqoJ38Fp1RLv0CX15o6qX6zUgPjRX3pxoNol89souo/rq9FNAek5+RAxE2r/z2JHrRJGvCDfNnnlquLaDWhIV8aoanqR74bZ7eGxhgITGEbAomejrPmcst2XYxgComgNk666wbT/d3sCAatgdd3pAHgpW1FeC5O00qHQv5cu5EO52l0MYUupKjHdCn2k5S7DABHt7+Y4nEFe4KuPFNagx5zxz1ZG+a0mhoJlUmNmqRvY0RZuwpXBinVK10yqmM2R0TWA64+KCDVfVLyGXregZnih6iEbUmdsfp4jnoEjjE6+xCt/BC7xKuZ5SfVZYWPa12MMb+IVLB6TLsY4A6YXZ9CkWDeDC2pxQh10s1BpxTis1NzssoMe482V7c8d0OlOJEzVM6NXvsg1CYX1yPyoEhI3FpYGhf81bZrIi19V6NL557oCEaGGvU6KhtSPo2oadswMqsEIoJyiP8Q81bQfcXrcZIhZOI/fmOybUwdPCZGTmIVbQ9mHp9a5arS9HXV7Fm3LGSMwN0NSzpu7MB7z3DkmnLAJhDEG+f0iNOJx2JybZASULD9ShPJ98ONNbY1vBUgKr+Qllwk0pN62V4/J0o4/eVE++YQNiLl94IWQmIe1gIRSlrUV7c/P2l9lfRmYe+6eBDpBXRO36H6sgwXZws5IHZWfu80Xx87x0MDnKb2c2BLcqQY0dTs5aZRnjimJSquG80nSpBE7jCK2lQTWmaBJt5pgeffzlYoO+Ad3madqM20vvSc6v7K5hxlXUGQ4gNzhUE/PfKy+4yAHuELOgYMr92WEWcnDWMA3XkicZfFKX3RoMDBUTi89G/e038A9vLZTGP7J643MZE7MTERIfZJDQZ0KE2hzpFyQ/gT8ZM1PhrD8bxioAX/KVXkYkdo2s484BGSosgx/r48B7YdJLMruImOEk1HemGDx0/Q4YE1eQ35DCoVVoWhN1XcJtxFLB0W/1K5ZxMJZDGQz9QEdTCgw4m9w8I7w+4hkfGR+KGYx+naEjozOpSFNTAO61VIGio+6sPthe3xqTRjKQocs1w2CXD8uQcC56Cw4p6SxJuPH/3O7nDjgyyrQb61+nqpG2H4DsDF1e06rk7S7osfgkj1pdJq+ZIkV1J8ic7lTCkP+8Fx2SD8x5gm9pgqp2zWevYc8hmww0tEzRxo/ax/bLZLE3l1gQSKc4aJIL6d5BDxA//NaX2px2wkePu/ishYpC6zAsDCSGLtddOpXjPRlhp66FfLb4/L67MzWNp7Gtw/0iGVW59ccrMecgnW6xoBQJWFyLzngW/+AUZsVcyEeD3/2Mthc7k1OdXo79kEEisUsZfTWosVs/Ts3JahpY+ue7wkBZSe3vqtS2kS+0xUT2VLGbAQOtBDSuC9muSaVhBeUksozbgrLiJ2/cFzaxbimjbtAncVxmAq3F+dec6AmoNg+RirOT6OBSzgivDzM+CMZ0krsOgoa8gK07z3IIzp5VBXY6f6e8mzBe4dqY/RF31QAW2VNOwqUXEjoddUswpKmM7nPHGqaQa672XFWG1JEAAbKgv9nxavovH4EZD7jdKS41PCRcX/xgabuuOs5sawqpOBq7SvHWP6GVY0dfMDEZ5zxxy7EJ7OgUllHTy0m+PwbSWVpEoE6GXXOdX90PTVshAHmlnDVdRC4rtWxnhipmggDyz5OUAn2snvM8+VhrPNWE//ZuHxPAFM8rnTF11R1mJwaDap00sX+RT+TPeyfpeG+twK0sM3wyK/5y15HBvgHxx+SHfpnZMaGWCp8UTYj4YISC+Hk5HNrtoYJFF95uOxDbmbcirKMwysUo26Mh7m4Ku/WLMVxT+kfz6hmVMb+ygY9uAEKfVeg5HKGjORRo8MLXgOYuAqgn6VQEzfbvGP46/KpQwgSlYNue5RwHLqztgxmTLu7yS0raQxEzU5Ujr7ZXOuelZu0jmchCqyAWNRqZ/gZMWPnOWXdreJ4WdDW1K4GCT8yL0nsmfR+MG135qRVx/EwVItNbXy+2rVt+GdteXqzFx6vsEoy9LDw1llrKpkg3CcaQmkAoDWUIYhbsvRiJg2YGf1HAX14yFjiAm6xtcNPPExOVpdHgnyIrR2I4iCUdG17z9O3wM9WR1AXkgWgkk1SAs+n/JUjKIWPcGDyMce8G1msu5KqZP3X0Jws6gouoy0AR433ZO38GcSV46yJiFTMDG7xKM/BkvdGMElz50uN5MLAnC1kjX+53xeOr4K89TL1e16+2x5X848jRHU70fHYfXpghC8yz6NfphJRGEZhtPogXcJdMeeCOjB5RDbJr8yrJtVNo+JvWQvC7+B451dbfyBr/4Z3+6hMmpEMLJLw8TGA1shpXKy6zZwBDlPE5qizNGGRCeYzrsTMfRUP246bq9Yqo9ZLcdApkbh1tQrY40wnEuAX68JvloXMCSP4KCWOwFqwK5zcneaAimDjS7viM84AEsXevnX2kRR8pjuYVADpDVUWqXMlUJ7g3PD665oQIyVTjWGBq8p1quuoYPxFiKVroctyLhry+7I7/KHgTpwd587mgWZi+DPZ1MyQl0BkLPEYjK+T4lKoDImpQFOFENKEc81FPxZBg1GTwbzOOOxPPlSJKkvpoDN2cW2IpLx0lOQUw3zad+M+/c5fcSCSYJfUkM84+GH+BDw+YsqBRFNn9QznYrYk9pPWEnkseN3dx+ZVZCL3B2AGMW03l41kf3Zg1WRXdOU55J7Z4mQCtb1Q49bDR6s1J3r9cKFh0/Dt7K0spFLvRoqQa8YXQA1HdtJohVFa56dYNcbcHqbRPnGa58K4H0n9gZijHGU9XAzuEXLpeyLNZeI5c05Uyl01cmmvwzwcm1RAVFDgFMgnJJeCm8Vr5GUjWRfVq5JivEOVoomi3tSTA7c5SPSl4UZpPQ15o5N8hPhZ2dJQUTt+TRz/20uEoQmo+mwxwb8btc/JkkKQJJsBoWHVkUMxSEkvY0c3JysJP48ccMjvvzaXJizS6KGwvhxFPjj5lsvmrNeMyiwdf52DeGg+L+kgT24LZacIwIhbKf5ytIdDFO1XOFsbjhkY7SDL9i+6FA9z7T9UXa/zCis16FRLYDxBdDqiqKJ4IXVIjrv+1Mb7SSfw//TH/CWjotDt3V80x8WpiP1UF6G1SLhFXDYWsQH/9Xl330pB6/IkxzEVayHUK3SmFD2KCAtVPLNBf0mKmAEgVk02gDysuRGEbya5Dd+Imz4s/dPqlnJ7sYWysll0FvHnTSyD49H1GOFGU9/6Kq67jCmBMYtUA+3pSWPxyk/dVBp8ctqJ7pnEBTvz3PIChTqWP1L6w01Erqjvm+KOvuwr0Or9Gw3atVGs5V0Ch3ohatDKJeHVnsn34Ak3LmXywy4EQiU+M63ookyOtNfrxCL30MiAN+nyi7wnJBBtSFNXbv5+ukasmfA/EMfGSgDOK/6WDbAfUZBKKbZP9i/l/daC0ta3n8z3dHfhqVMQMtuhyYYnmM6mo9bstI3C7O+hpsMioB7tj85KYlBmVpuSKPjAEEUclHsJScy2lMX7+Wx1rDYQHdx8s2sJKZarHLpt6QrW3rzpUEZGGaPWVUaTmRGBVH7PyBNrKpEl4fTCaP88a2RCf0rO3ICjmBsAHZ35b2SINoRvvbbT13387gghx6HCWmjfXFFLxMOgug9BAkYDHV9D4TfFOsImMmwfeCN4Lfz6m2nOtrRYP+6pcHH9gwpnkHrb6Pd7K3NUkaSYPFi65KMQlfux1uoKbiN1nCwYPRXFe6lOMUckIDkHSRF/yHqDD/XCUUC/eN05eAVMfrRhKX6FxMNbCgZK2aZEV9nhQknvh7Zj7GlkaHeIp/q46FDbKlY8718Kiuqr8BYlkzSNgynhrhdMrx9r+iIJZO1fmrtqMjN2zVR2Ad8YqdKCoSTLZmykOoyxdBGpEjr5jmqGrNOn5pIzwmj/1ZI4QIFy9GlWxNzMZ0oZDFES30CGz3Dl7hu9t5XCLfwTlaw9egMrQJMZlpJGl8D70+eCzKgO+VAtVs7SkyZMNqF5pWynx6XmRP1rFjLGe1K5qq4KbQMUqUpnCciYZf3DCPlwtr7kQKpK9RSfjH9sjpFhDtflQeYor8xqSQQlg0RdQFoVjc8hoivi+rhQNN8C50yvWROFFKNTyH5UMCgznNQzeCL/TROszG0tivxHO1p2uvBwmgOf4N09XT54qRFv1+/pB86jtLzfbjcBboxT9eLBQMngnOvF5Pu9uNffG8FOj1h3qfRrUcVSNEDOlNME6T/2tXW1xLznHESCYllaKFIraw3xlWZp5Mw3aTCi+0nerdXDOFZ6AGofw9wyrYFIdS5ex3RB3CXrgya78ztEfQvUXP5VzO52QIqxB+RG0qwiVq9Cd4wC22XdbmRvBtJbNBZ/2FB4okt/EHUBPNABMwK+6jEw+tSJKJROyhIZEQ+7JMZppoPZ9eZFZL/uBIv7jalC4G4yQkFFQGWDxAoPar5A9ycY/rHm5cS0UtUOn2RLRoVQ6RqW2wM8QEF2pbIHb8KXXUOZkPq8/xVt1uZlgdjhTF+FKft1gCZlR8cEmr6b6tX8TnNV7iUBN+Ej7uYQQUscbCpeSmIq583doI95TgatqXoMQFb2+B7TDoaIueaIAXGrf55fAsPNyrFEk2YdMQrJkm1ssO+qcvwMfr3tb0iM1jDO5S2HtZUKxGzVG0xI9N4w5NkQywsil6/ddbpSF84/hLPJFhEcquAeTRbajukF2XwDVaCJdT7BbpYSxLZ6UV+xAjy6dIY/OHYkWy10Isn3lCVHk0mhYbQDCOyq6mInGu7y3T3Y2ssp8ZK/EddWvDdhneaSz2C/ZvADcQYme8gLS27Ghph6IgE0idRNHFoUypPMxI2LhgDOYS2LcWo+zZhddyjv8YX15EdPPIEaEzdXKfitthvaRnOtoLAbSxtCCvKSdVBbFyBmpC7CONAd3oKYTEFFhBCBE7ZPh6pzgffwDRly+uU1vywugC6SlWg2XD22RILUT5ec2V1uIMf9H3G4jQl3UW9m17ryn+QJ19m7C2bnybAogPJ+ndpkztE4UXSrIo20+xhwvv1Pg4nIdoko0WT8dfYKqe89Rx+8vVVvflCjCNtbf3LfK8FVVGsQqEqISX3cP7HZKA9/jCvgjclp2DasHGaNcOs0NyrC8pdDHdxrF56AsLqXjN2fSTk/Dfr3hdWmCAW8BeIcFxVnX2OXmp1T7r/BYie3hUF4kDE0fORSOFhd+mhHLFZYbiaB6sfJZiUAzG0a7nE+IclIG+0dXqkWbQIy28xQsdLaM/0MOmGxBpyrawzKTaMRtLDrYMqPJFTzES4ulPpVvTzLAqe0MHUVVMjIdcrMp9lvaiEHX6E08OpNkcuVrMePPSqgg0Y0z+eRwi2Ub4QQI6suQDL7av/4Omk1GAyKmwooLui/Mva11yZW2XCL36dxIvUnd40xwODDM+zTXG8+gj5g4HYSe61aZalqq0RaAwSFapTdA8l1D9f4bbI3x3Ud48UYWmnk+dbqJQO1kgVySg8M5QzsU99HYVTshIw8OZyjCxIGcGkYOUufjh52d6ML41S4kBVr/2uVz2T3vpL1PM6lCYU/G51z9gICo+JyTvt2IpHFxRdmQ4cNHjAUu1zBTfIKSzoPEQgcsRmuwe4x07qj60s6OhzEj/jrUYcj9u1Pybc2FqbmJ2OkLFGLYbY0shzeAH3xotv9GpWiBq/7FaXOf4X0WEiVjK04inevY+n1H2WCT3EmJorDTy4bYwCNyEYz7sMqQxHZgM0YExLZJM6Cu2GoVUduAahiQozQwWof96u0OLvLfhJxuv5uRLe40p9i8B2jnyAGoJmciqc8pAHE/tS1qO+RfiGKovgCWwzshcDRcw2Rd1FonfhWSOylCPXLbA6FUHFYGeXpVe232lzzxGO55FTUFJ9Xo9hzjDJTLnkv7/HHP4Y4MRdq9jrbI2GE5zciYertjUmZUUfuVtFwLtmvivR+djxTiW8/kCBiHdrO7ZqWWWWIzcfr9kwJWI8VDpLtvfVpXZGH+qsVZwh7H2iGmhtB3JRP1CRQ6Giav0+17VeVx/ZCrbetzB4LSkabnLJeElDGnFz1lhyylZQNkMmh5BPmvxEUg1GhiNJIAYr/dwFTA+MVxsCWx/C349YN+Ard5YUJnAZ7E/qXwzXUfs2Pr/KQ2fcpvPRbFDRT+HXxxdAW6iowI+CEf2V7Ba1/PFxDkBblW3GdN7W37R6+GX7pANInzbbOLthCk+v+sEpkz2lpFSkss6pvKKE/g/Do9r9hoeQFjAnKudF8FJYYVqHd//Yr641+JUOj1nhOrLw54Hv6xP6tIsO6FJX+mzMk0tPlrr2fijgZbLrj3HjHTF8jgV3zumaabs+1fnwx7Ex8CWytUc7TX/eWvkmUoJTlhX0Bw9ai5XWozwV/fe+vZJqX/xVpZo9amb6MiKToYd1FUvm8/S+3F1n934IuH02FSyL5DppCFSVYR60uhQEQQ6a35u/wAUNU/M+lShXsq9bWBZy4fGD9ms4hhICjCZ9hT8vt+lL87uptUsq/34/fEWQxt5gA4TW/IoIqVSKmT89cNp80sNxLdVxVzYpCeCJ21Nt9UINOD8K3BWPHKUfJId6lTd6l3ImKhRXUXO6Y2JCIV4X9iMeiziTNDuT/OMl0AUWs8Co8XL/coZSUxXWu4v9At7dqrcSTi8x6krE/6QM+/KbL0tVUP7oL3NsttqbeUgalXWnDWY3PEk/sEFW3kY2RZ+HBc4Y7ZCeZc1rzIY36NHDBqKvAkPdga7wKo2LeApwLqfmRTs1pIUhs0GinHFrtl5lyWMm6uEG247Er6gCxBXCKRxVzamHiLLrX51LfmJoxq815Mn7ABBawxCl0259zBrFRZnywRUI6IwYXy4iXpzpyB0XtdskZcuhqDkYJjqSDDaryjidFRxqSYf4hQMq+uAnpU8kvSNrD/VL+DMlpR8k2AX/rEOgEioxS0o9Os7VfvsjsZVax21jmXDpQe2MTSbebUtGqAnie1+y7qvb6+0I0G4AdLhLNBT3dscqSefu/N7GhWkEQynNqub9cAJ/jQvPFxg54im22+UD/CSPDdCrs8l3zfP6A4+FwTiq7OiRxrbjfwjY7D5zBM8lzlqiaL7VaK/3ao9YRsXdYtWkfvMSHttVvoFH4quNNQRSVthpUvj/Yp09daoPCUQW11sDS569LYfeDZGoKn5Ys9jqtwcQNVkJZ0bUX5Ch5NI/OCe0kV+LGDLeDJpVZDlyhzY+hqAMjpVfb1Ku9scegegX4xI7RyHikZ3gV7MSSTmBb/b80MuDM4WeybPAqZCllZ8mxRYpHUc0opmcyUzkYVMp/36nDObUHHJum3DFkaIy7gTOrgGBIYEcbpxMf42F2HP6cpeqaDiK/5ibNZfniWCUKaQSekAMfQmz+XGvJmPjNx49Fm7evkYi5KBXtEDWlenJqH5vR92Nh+0i2IWa3RJIgsGoXU15XcQSr28AVP8xlnDjtomxcV2hbiNd1eNnyoOm8hYpKElNuITzMP+NmkP5DWHUpJUyhf4HkziwHskYFVSwcMJVuIB9TrCE+eU+kWolZ9xRZyhwqO3N53eybR9eoCG/9hAy9dpNZXbPyY5mxrdEo2mWuqdsY/8t5ghuq7vx7rPXM7vIak6sL4mqcT4KzcG/5jzwFgBwxMQiuv+AGuTB8MOotW/yZ0ddxPBOSBTSlA+rjFvUYtomh8PDOexPdjtYwMNLExySNY03aJ6k+3JSrod1zEfhnmTXq35sQ4KN4w/n95812B0VGl9UaKXP2Edt2GUgyEdqvvx6xnNZaaPUXb7Xsh6AIWuHHf0PBgnauN/7fZt25lVEQBK6KV9GdN3GZHw4o4TAzWgjAlGS0E+NGO0ds6gySEv47nmozOWjDGKp4w3vdyv9KBiTv51lQTHqnY3EUgNA0vvQfRf89A7bmtheBQK23NmkDOdnOrwsamvExWSJmfFLJkUMLKslOQ1Kot8YeSdC+wZyV5/LOmD9yOE8gYTQexZOUclhbxjgxsI1Gk6Z2JVDk77CQTKH0kqMdzW5RxWhrcfuVG2mG3EeU8QzJKnXYu0J4U/UUYL1NGX9DQw/OsGdtnnQtqvRKaxc3JhNgLetg5xunXQP2NIQ5BXXkkz1TvG0H6kpIsgvSh+MiYgngQJRNpWLy22wahoyE9+dqZRr0XmC1etGtmU2OWk3PYFwNbdXmfYnABzAbii6nfGXz+lYR0U9Df2oIZvjgKNRBWn99oj9pB5A1b5zL8Z5wTVBGihlb6cXXhqiL2pgI9/XN3EQnPE/j4nYJ1qglfsx9gdejHb/o6aAqs6Z9Fo9sTkN6UCWhcK6Psaq5R3UjotYqZbdjGMVyusSAXhkuudlr7tGHxfuXYWlwGAaB9+dzXYz7CvCLxD59v4/jbL8XngvB2sGwGL+Lg3SIFP56yXUxcHrBLYEyaZmYqFPl1N+67NJitpoeLpt6wi5j+hV+EDJGNG8BGfwFwi2yxadxQKFdr8R2dFzfezNaHrXqhXee+e6WOxOB34VOMN4HOWJzr3GiCVAFE90YnUHhD873/BetENyMu5DsoJuXESj8Hk79b3LhLgV7AAxtIPD7sacI5aJ51xxY1XCr9CSNnOjy2kJi2Wj7OlU0OEd71T5OMdz5kLN75rB/1Q1giNadltb0kpK924IXsoH5jwsNTlnYhBcUzAYa6DIscUA9IlfUjrPkAxAgRSDJrSZNPpVWu694Sj1AhBU5KNWBsxbz7sTXBc21J0WGRSX8zEw14X06viDO3ZIp6NbHnMWc/VCZ0GFtuFp1gdGA/B8xVPPOPR1szb7/7ROIaFJlY/5kuIhZ/U3VeoaeLdqbb7iHOLEPe37GSE/ZmJL37RclbNsZ/tqqIHo2+8c68ZVZBsiEQ2Ysrg2OAOFCgT5gd69XC3xbtT0lY+E450+rroGDEmPnwl391uiXWgvJGe+IdALuNOHQNFlTOd0n+TtE4u7ilkmCv7uwI0qhOhT1Fu881IcZqVMovrcfDn+oDWzkQevPinXTEmeCmKXsRx1BABEKolpHQoyrF+aFMpiMmZ4shFvoWr/KzGY+VgENjCglqK+7x9qXtnSZ6WfwxcQJaTEOmKes++XxXIocRMykW2iRUKJydroujdPg+Q3aX+lE4XC5/arETG2Zr3RFnz2S5/VPf+NVzqTo/+IvCrUJa5jX3o06JV+RsQhwNM/FODH4oa9RVyX0LwAANcF10ugbFG9unwRnr1Luai4HET7nQY4Lgrua+jz2ncwGBbleb2Gm9kKBwQq3QJzpKZJ1ksrd71SmDsNrVdUJ9ukwFMslbK6L8EvPmFRjYnxfD42HX1/3l6gsspqLeEIeGFGDODAKi5g5lV3iQqTTzM6Xf5VhO3RCBCgsF0PxbEqykPHQ0AvmGYvsTJLoJE2j1FOuyCixvvGl0tZPpuCaQg/upoTM70lTL1v/OwsleV7VpZ+9c0e0fhIFxKHSkV7QdhrQ1h3Q8sE6L3F5FDbXzyKNKgnr2n9aI6YBtpL9C7mk6HLc4i0vnnHOllgm6FeWml7WY7xF92niTY4+m80Bk/1VuIVRx5C3DmrALnNWdAjFnJaV5fy/VhKDICYbZzvBX8bWMDyonVIKgX4EaUO+/RSCWAJbKeIjxM8ZoOzLNTHOIK82spMXHlauLjuvwWXasPe7Xho1Rfp9UkGX0oh2E+h6zaXoNlQLz4JPkJ/DuorJZS+7mHLFl1Ad6/Et65fngmEJe/GoT7CIe1N1sNnaWl6mw/qj7oJqtLJjaeLxWRUNqYc+uEaf9K9LCGNQjBbCLcDfrx61A58CHF9nl790uIU5LJ3fCcMWAJypwGnTjjXh2KxYeJq97GIOaNoz3YLarXwENa1LlQIOa9fNGbrxGTeOiZ80uwwq2Hq0UgF8NTLk3KVUWwtxjil1sljJwV8XlxQe2fA/qlFQS5X5CVDJiIrF2X4+DoekOma4YG5Ey7TZfHk3VTUnmYEdM+uLF2iGyODTV3c7Pw2VKYUHmUtb8mMhLb9jeDqm1H9VqdsssjmZJ0X7Y+p+dVlN8VyP2jSSDqZPKYbAUzXGnapEr01Y9Eed5VoQ2DpQmDY6eSdcvMCglS6jFQzeGWgQSWP88mUTD2UGShBh+hazj/1mFVD67nzjcqUZFDRC/cFFp2DUNE6Tp7KYOab46QCgkyxBf3VptI/nU7Sb0F0eBckPtXngB/MWjSrT3U+HH9SckhwRXCRg0I4eYDe/taXglBAZCKnLloOuksMdR4CK2lsFvcpiRSQvWLNk+Ywu6+DrAbmq+rWA7yquBMHUuDdWEYJnDfwT/Dp7Vx1qv34FIz8OT8D6XI4txo2wduEg5pEBWVJom0NlhBJfMGMhPln0w6RV9O90g45dy4OhhikhKH1ujEnIbAfQuRVJtZ58necjIPgIvxWalm7ojAMRe//QZSqHjs2CGhBtq/2SsJmsfPs6PEi19BltkROvob0TQYFS4u4jyXe2Nvikmz7mYiOuCcuAtm92KaUTtZsWHUPr03H/VJra4YwHgTIZaZ2x9UzpUD5asEjQpB4xZoLIwIhpbc2E927vQFzYmanjlfjSD1EF4usy59aYWzhcORB/An4X1lGAMDDVWRfS3kBqWqcBx4udp1l4rP/YtVF5D7wqtDTbKLWrZ3E4kp4Bp6QN8TawhDNvS1VCDvWlOngUiuKr+kB1h8aAZ1tCMaQZyZ4xtxZaOu1xmX5WEx4qtWOwfGMpTbDSPs6CL1xaEWtxf98b2W6E33cEPJTX99tn2yLpV/RlEWkfrvwIm8i1eahzisjh3l/bz+hcrykki96UsIhEnU6dU4CEwUBAch3qBFhyezAtSJNqrBHFE1sfdsZCNIrUV6ZS16Q94Irxl23G7UHaqI739oEx02BMaYIBzHlIjNcEFHqfsWdMdVwVTRWaFlip9721RR5389gg0v1DwyIZKufMympGMIc3hGMIxb2XDQ3sseCTeOUkVh6LzzvnBUdcdJ04CIGP42WUOLWEhFBk7JnrJwTtW3hC9kCq7DOEQV9irFfUPGf31Y8wCcDwxSomMeTPdYvfjSnLZlrExeNY1Col54Ce2CwvGdjIeoxbYmg5MZ5t86bZyGXaBlqhQMDDTpSAtfhxs8q7u6HRCtRl8ycHy6bJAanQQrmLAJDSbo4S/hQEBOJmF0C/HE1rj/PPdBHSojUtqbzrw9a/1AILp5QPRF5hKb9qOzBEl86CTsKI5CoCDYtljaNzrrEo7gU+9gII0vQqOHq5ui5fBr/QwvBQF6+xzwOryw3SKb9BJ6lKJvlLScR2CKQTW85+XGUhv0Iv6+2E1NoEr71MxBOuWq8qjmCkN1UCbcGqAXWrF7a58SbO1nVCWHWHpz1fxSd46fVZLxOFkCDRrQMAZs+fBt8ax2CS5bQSwfoUbr16V7A0cVEcKL6Yw1o3n/CBV+9++06la/KYUWEy0uoTV9zlA1bTnR7yIsRzycn8DHJfQzpgdd0ts5rzSxYkmwmBmqUts/8Qpa+LLdtbL3MHdyTtU15fwEJgI+8jTFixkaxdY3c9xF+HHQkPCv7aoWxvSyCbQ+0aG49d9UFcvVog/ozbZfOJi5ekw4rWDIHT38AMWh/CPSnK46gOAYUC1XdZSXCXs07zhaaF4AzCZX9/OD+tQ6ghowE4lXg+TC2JbgY4MBUTOCDfB8b9nKlfTBHP2JzHzNtRuh50qh2kIjy1bLBY5453N0abGBKsA7/f4XA9doXHVE/xaYNRf7L4TRuXZslSHe50Imnl2L3pjwQGYxCcMu7diKFjrk1nQfPuG3Malq8XC93lgKJA4LRxp6imMwhLflue2vGUt0eZTsa2TwvKHevz1BkvScKrQA3fXOf+0+Nbgo3oFIUz9yeXhb50t8BOdf5oNCIHGjWJpEx60AfXGwNbFo9ndwxXIeUzJXm2RqqWRrsmKyiZWYNbNfWl0ct+Clea3tG9lOHcTadS+A8PUPWDJ5pBEc5igygckaOU/fViGIDTZlHb9iQiF1pomtTq6KiEEjR507/qqTozptfGcTAmdOlracJOVUbfV6d95XOTRYXX4efPysV80S36NOeOXdFSECbSwoHadgQFDm49M/PApqfU2kG8xcRi63qCs6281gmgIKCJ82Woh0jW/qFw+nRWDfYj7WISQ2QpRKzf66pI+enCIByDyCCSClEfr1hCJRTQS7SDaEVZp3jYY796Ve4Mh8TYXv8Cl7sGJ9gN6EWzMvS9o3ciZ750DVHFokuzt8Aui4TUEsdHZyx4sFdvZCIBFKPqBK8pN5r3mX0khz8M/mQAIZ/xngNDD0Ozui4CvvrA3Jvpw2I9FQveOoJX2M2oxWcEp/PRdeEL5x2bFs251Kp/Ccx83AwjbWuNIBoR3BURrXOANxQumrqpFH9r3Mb8wWucfsZU6is9m39KTy01Of3dVxfF46igMkJlW64z7wh1TqJg9uo12RIM3SWu1IiP1Kq1IstBzBP2RmfkGuxHdeZRU0IOHxdZpUjsCaboM423fhuhv+GtfFNLOk8AFTqbZ7U6GNuaO+KYhycfyzHa9X1rF4w3erPZGAOQs3nKVidlKRpLN0+yLL5okuoGaHBzHw0EHWKYoKWQ6uvDHtSMhpGIdNqPO8Ed2xHKHVmDw+vaBJioRNMG2qqc8QrotjHNCjOZSXvoSYq5fcwq2MfwpbEH4Hr0l0TevGhAfk4Uvp9e4vOVKlXA88byLR3558/ogFLb8bOw4oZUHE2YcUcfw6RYgg3suFNWv8EG+Varhk18LD7BLPUlizwAOiTBqnVDA70iou7iTCalFzb0k3IPkkpBEqg7gMA9NNCRC5GQmHOQyJizc1U2Z3ihUNR4PVE63vn/KOMc1vZepOoSPzzLGyXO55KGPDQvhWwzKlMA30uxYjpJBkQGhGxjMBAVQbqeS2vEAJcFWUlPjPCFCtUKLUSf6D2vGyWBDz/rqQNbHG+rlEIHjP7B+WU1durxWarltDluKnPDDwOAumUi9LqNhQuOKF/rSePg8+97y5jO2axaxvfZplGcjUxi1VeYCtNvIuivNKTM5pl0zSlLRpNrxe+iuYp18ml5sSwUYHn9S67+uu+wpvlcW96TYmnMLoodfopS1Rn8xbCaOWQqfjD7OJHIDs0D1d1Z9SA1t0/8xDqPHB3ErJkHZ3Nv6nPpFbv+zoU0jWoCX+q/EGUYWOwcaTxmxWuWyjp5zee4UcnCAFTIDcnseQ93N+xDZ/ofw01jHC3LAUcU8uv0PJeTWxV2vk1H9ikRT9tVe5iLKFfTx2nNfqvg4Ki6wNv8s6jssBWIUTWVf4aBb5yVb1bJGArqVj50EQWjyF/5Bf4sa9R0UajLHoMZxfo+oWWc/k7S7SyRML+SD7qoVjZvy32/J0f83i/qTJwyTFumXU5Ti3DQ3Tq384umF9nGz5iFQMXWLgdDfovQkturLl6WzGSL+UVIJ1POLztJ49mdXz4TAgXv8aoaacR1/AkrDGVuCbo9zJ4Tsn7FDXvjb7jGIlrQZEv6V1mo/hnH4s/3Kfyb72bnGnz9ixDeQkglULjDrae8fzm5EQUrxPuzOJvi6v7ZuO022L7004m5e8psO8Qz3nf/ozIQZD+2nIp1Xn/q7xN+7C6DRtHQoE+YeKjJNp89LsR51cfaonAIYMpNiyPmAZ9Quf51G+SilJ6+NO+HI9ztfXAf5DwrZukEPzY1VLQXZDPVaz0Z9JpjmQATUvTEYKCk1Fs6+NvrWwQQXY2ajmF/zgFSXrorZVTpmsgXwNBZ3SqEQuoEbhY4o8rQYiB68LvpYRE++1F6tE2emVuNZu15LRVksvFgiXOdwy34Cqv7N8Pd0OL9YOCTR2nErqBtXuMYEgwIvnf8X/eQ/Iyjt9JXttIA69xu+KYZ8ZZtNAtebw8/jjeFXF81Vm1qjwMefvFjHFXhroHU4/N+2kOY74wt/E6/bxBTTu6XJlj5sDaH1I/gmueD0aRBF9PogTHPRy7ediy2VZ1YkM6nQo4fItyvAoc/rZHp2yTt7lzyZABs7ppFab/qvJPl1XK8bIImssx/xN2aN1TCDC9S6xkc4YlfCmZJouzpBhmCyRizM5aR7qd6AC2x4+UVW3FSI7MS4SrfdeeukB0SS5ZaPJRtV6D5ic829ci/wZlvSeunT7qnKGlLfHdsd1ORFREJncsoL5cMrbL0YySnKBR10GK4aH15ZMwW71qGo+XO5eB5Frk12ef+lgeUHC7KuCdffsumc4BhNy9ZN3ZFBX7hlkod0gkFRKusiKe2vDuR3E9M3o1n+CD59JkQMqknWITFn1XCFwBWe9Okc69ToKpTTxrGO6EO3luQeQDTU/TKAHFAjkQZOAD7eGGyciYm5tsgCy0OcbSONlw9CZoZ88ERi5DaMzrGV1iDgvVOL7/tzzpYXpODcKe3qmKnRQf02AaZL23uoVeaYEQZH89ie/os3NU14SfeVksLo91j97qzNaHgLcMRAVhjjsKxQVuknt7cF4yyAGkCvNY/PeWDZyQBlYfKZkxOlrRY/EuFEXzCN2926vy0EDsleEzTVGbJRh3JvJKrDKZSluK1/wNaXy2oGvzWjGuVHqaiAWmoM7PL0dcB9Dno+hICNiD5NM2cp+/D5YMzXpjVl7aSM02lAZqUTD/j0EGQ8/2luqPX2ooqWDgLIGkag/CeoIfOy4/XtljwdsCR5nVy6JZXE5qIdzj1FYxVFeyacQUs1z5oGURiIeoKAvRu8hLWYEv3rE1RJxVBA2OjuqpB57E8oFA0Ia29XhCxQN7o/T3I2x4diTXv2jWlmdhOQHAsQnop/ps1K3DP6+krxeLwhwuIi6udd8zBakFIEEqpq5dw+X9eLDjEp47SibafA8tC8kkuWLJTxsfRIIJwVOcbQY84oOSXAYJpkCPibszZ4UwtH932F30FzRjrHrw29K1QqbBq952FtGKcGOeAkIOkH9SRWCyljas9nBpWAMn465FVhn37aOliC4BP7M5WIiVJZSWuwwlasC3vMSF100iua16Akvpr5BY6dvJP8CPLbOpiUjC6H6ESgy15CsJU0AtB2J1z+KzXAsJ4tEAu9r1bpLRJTV4wk3bRut+QMGu5DbLxj30c76SHrN9Hffpf+EQs/ooJdVdETAhgcFifNpXe+cB3c1g5CTUR7nA5pSihOzIUnkrttBL36FFs5QLQc6DprEG8VR4UAfUhT2kD/6b/dbwkmZ6hQUuipb4gw6OzdoqCucPITeLWAgsdRw9b32qo1HKY5Cdc8cKYwvaRkdnIyTDXa44gYEpTRkZOCjTdS95uKkHwyZaupvzyQ/NQaLi7xTn9Bo0GhFcRLZPRvSWYbR3weBbX4FdpEEAa3iK+wqeOzSN6tnghBXEJWBlnG9wHAzP19eolQGErvhfHHRTPquGiBfVBgHTCh2NLNf1U4IutUbSmEMD5XCvvsCDIbOqrPg2m1Ho96Vuox2Qxaj8yBXwdeYq65GAJ8keNxKnw3yhc/egKNhCydmgCUQeEzixyadhXHZkVGndxXqJRapLwa1MrVgyN5i+A0n+CA203flFSsc7ubeisAZLGc5t8FiJE6EcsSxStGFWRMeclwkE0to99g4SzL3PzKGzXZ8juVBlN5ASaC2H6GQunzEzDJBmelpCMHCMfHfwo9RBkrU/XSuSeX1GY7cJXvPfMl2pTapCQr7dfi+33QM8yhcxzuJON1AivUhcwubkQIOYTa/L8dPb9AdTjagpATM8bc1lRDhQwbQVYYOa9h6XK0CfVrFYAK7Xalgm4kUZxyugWe20MOpIUJTmjzLdXioBX+/pk2q5xMARI4HIT/pnzmzgsAIVRV/1lP+m0wMY6MDoWB44pktFPk2bo1Cq2/uzdO5h94StfjK81psLN8kNjvKIe8DLH23WjD0cTUAKkW+IbIuucbuSTaF/Holt+SgLKB4+TVOfhKiz517dxSc+nT4IZog/Luuce40bKtAXPcH+cIJvkxi4cd0EBerMBp35RQpFO97am9pVaYg+802SzSWdFJ5B9EJTRht8phl7AKhEZhVZlIOfzNXFcvOPFU6r2/DwH2ETCu8HNnjg9b/sihlGJ1gy2UnIDvEbzHRNNLSyvj5zMH2ILu5JWqVrwm/BzOviBKegLDNRti5snkOm0r9XCyqK0Jcn8UhJG/4E6Vb1hvbGAVQv0U4Qdu6WOvtXmjwY4t3bHpjRDUCdMq2qBJNnCsN4V0Yjx8plsJ0Qoax25v3LbdVU+mVlnmVnIaF5zpxNOsF6pYJg7kZA4CvPTxMsOFK1DQHQy5xZYiufH9DGQ42Qk4WYGUt+cluG7gGZFt9CQvMemi/8HlIaOEokDfUSAa2e2g8Vmd/kOQR+GbXPUwCLwN/S7fYB9P3mHB/qFrdyEiIMJzw3x9IDBjD21pswXzQ6r0TN9wZOuIwwQXtKACru3Jv2wchsmmafxbWNh8isjErkQGB2qGaYNxTqlaIshJc6rv4PVP/cn00fbUW8xaDWVHbaA/IzlX8GwJIkvtrHd8IJOHSYs5B22ScudearceqPJcbzk8eafvmyeLc1DJ0RFUEu8Ht/4pXbRmqMpekmP+gTRweZKHn8TauwFzu4r7zzWWcABdQmeqabkNz71nbw+0cww1k6VoZAfIh/cWzVaL2QrzpnmAlWdL0A8dNZLwf6Jug5r1dzFd/OAEhCVWEdS2fyabS/JQYa0lSfoBoehy0l8pOZ19OTGRKvBz0v82c3xsoxwLlLJqdAy4eM2WlmfC6quN6QkNctEDcrXuv4q3wnjz/WHfId2pFEuVBhV4M6lzbU23Mn23KjxKj2yQQHOogX1YVpzApleUL0BpWQbJbH2p8DCQ09yQ+/cn7voJWLi7t+AxR5RtVT4gZev4uyrDaN2FUm+ESwMm3S4oiqpO6q6Jamex7TeINpHSHuRMhTQiIlsvSrbL3BuXRVrgoBtrObnIVNJSaXGf7oJQENT2PZLLCfHswwLjFZUzkSRKTNmA68fHpeeTT+QjgxAdTXmVvW+f6SYuiEezEuq60yjmfCliC4NKDswJ7xqFxWuZ6Hl4C6WMxZ5KNYGhmmvwsppj0pqfCVhyeWkoG0eVvA9TGFUMAITiE6eaVEymI3ARXYESd9Z8yPzNxQiie1X8P9F1s9jGK1VfVOJETrJC54ozVM5jTjtPB1ZnmJ5f79Z2EUaIMRAk1yOOgC4gmx8E04YU1rAb7mU5lJLdObe1Q/AUjecwXipcwTSB1plA9hkjNQqcvTP51iWORVtm0gDjuPhzF10XE0hfyfkLNOmeyw/v4GHYh+jz5jCOP5/5uqtW/c8le7PJ7zsG6NoXfAMX6sLI5DVFHY5phyueCnRQqW7utVB9qrRbJsaHyPi5qogsTQRr5fYh4nfa/TcALvQi+HUfPgp0AgwLmmXRlo7REIvCFTNaHwSfS5yRIr86z5ebU+gsJHfGsnRJ8vJN49Gt88UcBmJo/1ip+HP12DLOQyMW11IdaMnlDhD8r9ZyR6Yag0GUXzfcxDmhdSneEGx8weSYt9+Kv3n9uQ1GttpyNFEAEZPtutCqsATLG6c+RtVIiYYxlbkV7vQBXGKfX6tignKtOMdPLLXfU9cPMWIdkyl9wL0CJyW+0EdZZP+QRWQ3SNzIngKwEM/N8IKt0/46S/9i3NKGRTx0er3HGHZyUJxD8rV6ot82bvlMNiUODcAtcAoE+oOQfIksoXVhMNr8GG9IdPTjCdwl1JzzkaX4XY9pKLKjCWwA3aERPzxXCVePNV05bRMrG6HyqLmWgGet7bn++0R98Yz5EE5WdGB22wK0gr51IF6d7EdJ58Qgz6foqCxduUzA+VT2gLwiNbhb6kXeo7tthaWag6PGzP98BHeY9jUSXm1XfcFA37Nt0ofdt1yYtT9gk/XYcwWxHGJZMPb5AB/OcXPPTFTBfUTaILOlW6d1sbufcNLJfKpGP1k2fMAtTK90YlrIs4Igu5VIEo6Jx3hbl5HwX0qZguvZ2WvJznWNmh/iYf2YbtQdzGeHuj77Mb5v4OhQ6RrnqBpXLywv5GaviSmP8c28E0PXMRfh3axbWVXVZ60ApPMArqAphFmOobMTOfiY6HrT9pd0CwTtNG+MUxGeqnLmtH01Pr0tyPYhgE9Opg4vgzmnnJ4pVXBKYGLc6IclzYYVV7ECvlqeYPxDUS2ev8kxQETPP5UudlrdWYXgqVi7RlOTChoipgw6rhdBvFxcSARIkdLGZ6rG9GbNEvyfYOH+PdLjEwlK/ajwhrt3Vnf00biueKUKSd1S1HsfG45U/Ab+KS1ISptKfqLzutmaW+h3jiyl1IVXOeVn7fybBJOJHvlpBeVcPhxDRAyIDHfA3IwZaFrjd5L7+b4rEv69ujOG6KyTCinnxC2oW7cgzqpVTC8Z6vmUbZOk6yF9YypkxSb+mKWTC8eJkf6452IBR2O6reMTOJaoD5EMYhDQACyUM8LWfGyLIIOvhdO9di7jrjwgjNdQY1cBe1DkGgN0iHaD2RG9xBOyc9ya23SBwfhcNYYLoBW+Ntz2nmJYsi+Kbk6zfVv+8kqU6Gc8vZGjrL6mz7lKaRFto0OweC94mrMCTy46f1bmiAA7P6k+c1sSZCLBNu/hi/GZ86qZmeU58vZQQtOKeNnktuDTYR+YeAmnhsWu4RUOK2xDZwcyMRnw7xgpUiAyJ69b5I46LvmzsiVGZf3UaF1KNFKT7Skw1C+qeEfuqF5KERgD70hKQw8kYdI2qVr6xECoBeZH5Km5aUijMYcFINPWLbkyqKh7OZ+Znbyy96JOU3UoHkL8I1mjQkImPQkmUEbN4LNdHE9W/EZfoe1BkJxo7OhLEZ5cF1qNDhOkqaqb7Q44rZzTqSyhI9fsfmcpzmRRo70zSFlvoLuv7QXPXMxlPFYzjE5DV/sR+Mm3B3tji3F3FAUpnoyAmAwySlmRue4Yi0Np0gyUA+U9AfmcM6HTTs6fBluqUnQm0IYUkafA3r7Vl2umZ6H7Mi5J5kPCIB4cSdIa6ImkAZhXgRfBfBOcNpQ4YiTmnUugD9UgDv/cYwq7T5n3qzVWs1hvkPomZX+fwN++AgVhnzXVjLbO0MDiD/rWvCcD+kjsrVZYT4UUPjTvESpdkhSLjpFl1C/euWXaH5hGAJajnLzyDp5hkYRM9oMPYHEhzhBka5zOuuTEGiWWtJ/NW+F7tRqJFTGARGnk4xhkZ11jIOMLS1FQe97q4qxaipmz8G59NF7Zd9K9v6VCZ3g11mLPgXEtO3zOxaZunYLZ83SPZun6lr24P/3OqJ5gQ5OwG6GGXjd+fu2CHyZ181r+Qa2lYYcmOSD5iODRPpKUV/QEtxz/MeSvlq0uS4oQHdD1Uw6+jDM3zWfhmZ2YyUtQkdgD/bC6kZq91GlRra7gvzBvcPeb12kd3b9Or6G+cUq3ELNMX95LMauStuikAmM3QCoMxJzEXMhZMRuVn+8swuaWx+xjpH/vT4m94qtpx7EZi4fMwANLiN/vscDMx6X69eqiw/CyIXb4MeY8PUI1cBmrZE9C0HyM7JcH+K9k2yHLv54+doUk5wy/u39I0hzCxfGiNbtTMUU9DY/XV7eGeVr8ZQBLrKWsIuIA59Mo8TVAtjL+z6RzMUJLzEgH9rSj/dQrM4kNBI+1XQ5NPpaxaY1wo9Z1y/OJgCuRrRS2LNTG0HaHyRuZ5l+UX70tohhxoqTN1y1rQ/kUNKCJs9N17h0eLMPLEMoeSBxRAXzL0zEN5u6kgbKPcIp1eBraUbFb/S82kDbXmeO/ihBtona1QCETyV+vrxwxQRMgCAgvahxN55bD6NIPY3s3ZN/IEB1vm3guC8186lJIdvKnBQZOstPDER5emzYTp8d98k8rqn/z7NUY6QGRY0WzkY4mErPWLVYRiHdc7OknEqxOFIFVTQAq3/37fsju6PnTzFYCHiQF8BoX86UEUexaACnFMbixsL1e1N8RHdkvC7JK6H6dGfJpUmM7eAjXBcjHMUDEuiToquB1CWSZhTlE/1mGtTG5gH5t1B6rHT0DnqLTarbrmukUmc0FrkcmqigMQphVSohdz5GSSLb8LDCtmvjlp3351dKxeRgqVbkMGXqNbDTj1aflbRQ/a0pB9dKB4TemXKHFONDll+MOimfFH5CTQcQr/cxv1EgYEJMidX3/jph2LhVvOo82nrfJ02nkwUZFhBx40xUtLuxTE7Gu01gQ0nHhJwy8ZgGeZFYc122+RlSDMiKbwARVg1t4pqEZmiRtSJHmqDRCLr8tBA4VfI6LSoyTp6RxsNAPuiE8JfTB578mMtxchwre63UL01Kk0X1O9g2Pq1S6JyPfYOQfHi/aBewU8U6OlPWntDVsv2YJraAIj6nZ5JILIajSLRkmiglzDlN07kcqu050Ry/bLZyKw23d9FsjYuS79kjp/u+lShAg5DQ4aETiujC3FsDfUaL9JHi2+5vYSF7aqi0em7z13tV60BEHOqEfc8DXhRXJh6omDsGN0vXiw3ELqNeiNE4lJg9mDs9wbt8LW862YJecVPZoL1wlHBFBBHOmqjtuRLD0E/kdC4gpI/FPkTTj8bEQeM8hlIFRcI0ZyUJj9eBnDbORyPJ95gvAYVnvIYV1uI2+0eSXABdCGcqznsnBf0mRd7je0iiK7RR5C3XBOfI2ntfm+OjjYaAa3A4TgrERd2kDPqNKihfFI1cwbBw9DRJPJLuzcDDf4kgh2yiKBQSJ8i7lxxaZ+E1d6aqbjf9/zX72RJQeFBDIKKVlarjHWfMgKdlLx9jRw8QYBvw9FJy/4uVwtOfWqOuGVn4yKj1mPf322TcxdHVBgTKK2VCILjfqKqGSBagH4gPy/LsBkvOEOhdy8gHxwD62AJ2+fNXNUqolbF4ADmXQgCAowpDMOEpUL6af64OAN+0/wisBKBdtT4tpeJ4n9ue+MHlx2anKwFL1a5oswp6fZBc+/OfcPnX0tX2aMg2w4LwN+3lbF4wqOgypzBUJIbDQAQ3CjRjjF4kgOE2q3XfoVLL75RZZQjQWENxNW3TU7MPpPAU/CbyiVOlDHQEzgKbfLAxFRd21eIkY2wJBfUR/jI2SwZSK/yHzytxbDxgWIpgJs1h0H8BqinEj9DlJBpR8gQKxyXS3NoUppbA/I3SbsHKyImcjz+Ey7ndHFK7ynHmF0BnvwwcFVc+W5ZOQDU03c+uKeeU9yzvkX+xJ6kG16cCKx8ITith8cqfLEpWzO2A+MSmPfUNquWqDCm/Tngp8PhZLHblZUTCcNfSgI893FSH9Kh/5ElbT6VwAhKNgjSloWlJKO7D9q9xPzsqcR6MLaHE7AHGD2dayURc83fco8wSGHw0A6OqA9buF7WHUMB2DP6YP9TnxV7jCL6+75sT4cv9jNvHrdCOkVyIQxCoHxYfyqt3eKo0EyFVIKCB5FM2CCc1xlHj+W0S2e7ZPg+9aVG8JxPjpfgDVq+slfwRbisSyALnrcX01x2vCDcT+WqhqF+xTyn7uQ6EPCWISkpYGExVnWBkok3HP6dMQpIq13warhWB9WDUmxKsOiYDryMLGvX9oOkTIZ7uhRrVBhSfYF2DRfc99VyWQxs0vazANGn37w6E3ld06TteEkee3+LZO2tYNj22N3X5s+7XcZdQKdcf++IZO08rE+CMxGLMvCr/jtHmxTmYUFYeNg418yXokf5fDK2WWI4koAgKOljoRs/777oZK7l0P9ethTLyIdwTkZzy6k7nj1QT+I01+hecvBa2QJa63seMmWjkJCRrJDhWCTXbP9IwauiVCfVJHIPDnlXtexMbmPg1rEuR+PUMOeLY5MIsplEm6N8gVVzvALi3s2vSpUSsxqyWGHTVk1eb79cm/pv0KIkpvs5A9Xm+JFaxLovqfFCBd28bPj7stqE78XTElL4guWrWwOnqzpuquZq9mUf4aqNVBuPbgnv7RiSPHA9Z7z4sDV0bnWy1AXaoZ8MV3lBibqghObkHEH3xodevWSY53mcZsPPmmeijf0hTUmRleWQQkIiyPlRGOellTM02Dcfcpl6eovXnIFNQbraWPVv+2khnUgNWmemJmNhGMkFKNfhqgoxuUuT8EYPWieSx5EaReu/vZmwE3b8knjxVKUFmeFxuRUpsV44XFq9rK94UpUUscFYBByTXR3t1dB+AWJIJcQOjAn8Cnz1aJgKgDJTvJ6OxOOYY+IBPU1uQO4dVK8+L5qOjHgODL+jOv7v2hdj+JJoYJ1y3LnPe7NTR3sLypkcHNGsWXgG9MevhOtCb64SPK1Pkr8eyccy8nLbIankqQesYlLIoTrpdsFN1Bv7O6i/u7V6FBg0aJb8X10bo8Rvw30mtUmE3pLsWz8SXp9ztlLiv4UYA6utB0QON6BfoDw6CEzcUQgTVkNOQqMC6mJuyMBPuz4go8Te0R7b93uK+2e9KJYyHhkuObp6Bktj3UwwSNlSE69vYQXekTuy0EwbQIgGuO1k3kfW+scXLLDmHlDly1VvSbsWuwUY0VpUoUitQF8ow1jMKfBSV1qbSCJ+Rk2Ezsn7ObtpCwN4YoNp8UkPdavfsQW8wsaH0YIMSEEfP0YpuT5QvLQAZXCMmnAieSt1G+DB/4l4o+bARZeWKu8MJevi3idAiRZp0dc0dSi5N08VKRFZoXnbhCif3p/nrBPbpBN4bCo6Hu+e+/J71VgBRKy31D8xNoyEyg3XemG8/WUt6nGYLmsd25ZsFbD2PJ8v1iownUkMwqcUzykHfaP3HW3WhPEDiK/BoLgdN+tlZBBSXT06T6sqsg34Y9fxNMNlzXMhmZUuUZzcqNsigkOuqnchUZMJu1pbRo7RBwBLtexfLEP/JDWQHYN7+MZr8u/L+Ovt//Q0Vlg+0DRX9NCI6LbUcr0CVz/0wHSIhzO1ARcUQQUO/m/UnqW8V4DfwNy9o4493hX+auphzR7uFwYmqF3CzpBxCIZgpafmYEgUS9eabhYAhQkzKpJTI3/ZtrLxQ9RfAb2QmjHbvCx3TUdJoJi2BLZiKyf211siqDylrSylWGl8g+31xoesRRrCpMsMM7hUMMA/MmSZ+kpuTd57hIMSk+U4AJDw3vXrbPqdqcvd+WQyc9WkaW1GPBD6dS6y8VmMqiYEUWkYTEN0SL08Cr9INtMVZZthzSDK9cZokoFEtp8y5PBq7BZGT2LXYOC/SHBcYHD9HXUDJ+mhvbrHaKJIiqgQbQOEOFZyqHW/qNKQx/zcyjmdFJ0tYjXdFRZw/n/C6Z9noiTEnCGIF4+DMH6T3mJvDxubvG1XsZWhuF8lf65Cw3O78ejrEjT0qsV25hMWfulffxtlNp4bronFXPcmoIWRoWuVV/ernxnmWnBf5x9Zbc28gJwX6FktD4S4RO5ZQyYaJ0VOdWfVz2/9ZmHjuQT+KY8Y66dUMW6k8eyBSpIXgFQeP0+tsKnOAPBBcLx/9hIM0gl0roldVMxaE3zHMMNjDlU24NAst4J2EaFN8LoFk+HfzWkrjzP/ITw64eb1cBVTT0/BWLfZItZXk2PgV7CBveqB/Efyv5J8p/cgQUrsmu6Sp6tidp+mC505Ai+peInAcpOnGYnYgh8nJFrykzRX1SZ8AJsDWvg6M5E3tKZ6Xg6KebOfBGazSmgdgOua3R2qCt46368GwsL5JkavkBdPoSJwGyXxijx7O2O/fBGV/MLsjWnsdo/XJqOzm2O2vjZHCQJgDZkXjBpbGt+PU+K1XKEPigT2S6RMBu0zW1aq8PcRa5UpXl1yrQ4Ms6ELkEGOEWBKScQZUsU2I0sVm7Ykp0S+22zRun0Bzz8sMkAwexxcWBg6oCk7I97Z47VwqStkpyge5ruBp74er6ZmEH3HCNqxBBBQD4ze3ozFX9eD7ZyD+TW3wWuZ2KZMUjH5CNctyYXd48l8k6dPCw2cPUxqmZbXzWGkgfR2eH5A7beGZjHHkBIJxeFbCLt3LWkE84/knCs/CP77pdv4hEc428UeBKZoGpj0pm5tZa/LoGJlx4KSCQZxvzgikwzkbmQ8Xm6XKUTskPA19CB7MBxGW3wMZ/FZFqm4YtsFEPX4zvWdd3qI+pE73/e86Ma6maDdB4bENQ3gSrxvfGMtoI8OyU8N48alLJSZ8XhzTBf0+v3N2VfsDWcQ5mqOMFsT7gAww78BJ6I0x4vOowrBXXyyeM/iEgTukkYcnlqP5Y2CWyzLkdgVRcrpawyrxxgMTbUkKf97xf8/0y7eyv2bsyuhU1MUv7yx4DTHLvfL7Yw78xP5FZl5s5xDOsQ2ODUqRlvh1TuOYbuqMAyClpeJtSszCZw+u1rsBIMfjB4wO23Yg462NTySyfpsU+jsknXl1n4DTZtV3257f9a2UuWhLJAoOYKLYRQ2fZtaaZGUEhknatgxVpGwyplPZKcF0kl1ZV6URT+MzFLr/LYQUevHP4O/45hkjLKuFo6/LKsucxppe+TLO27JZr9JR0pEhUCNDqrscfIo9pZ0A+TQh94A9Q4shmyLWBAsjb50nlvJOkXZEOf5YjzYZA4XDIXl6PHofnoDZwNc5/uZr1e65AVyA8PHghEqZYfzlb+CagamN9FVoCyu4x1OEzSjpWWEsa72SxNZUQPIDBEPazVNPKUoOIEJZslpSSRtyRv9FsIJ9CJILvftWD8jldVp0D+TZib+S/pp+OJpFlp6gPiANiDDpdPv4vY5ZLp4wWNEPUN1zxYzVii/gcBVHAHAeovGmClHmxVqJDq4uXzotvob8qd8EXGZgRZB7WdcvegQDgjLM3SQiDKoqWZdmin2hOPZKLLN997XS53XD2QLTrOjn7oWjXnF/TuRsNpqYlt6gfJ8jV0EQibhrF+75ul6fara6qtt49c8QLKHm+8vkFZloCX7RPdhBXdIukDyN/VMaM/z1KXFrGbIJxLnEJx/9q5YRiPc3KPsAkSzX+EAWRCZkuUXzhYNFYM/B3TX/ylJBqmoVTH2Mhzziwj3wUAU1PG3hc7UxvPzPkJ8iB0RWwHxVOUyN2+wCeOb2vYnQugQsTAg75Npaxyg1DQNPIcJtSPaNzJ+m4I02+R9ogKxS3AKXYY6gATuCTD5dn9iUlcsmlz5NaNfstJ4Mv5ha76MkeIyaET7bTl21l8BO+GElrvd3uJo8fKOCpyMH9CSsBoVtVTxyo9Ep0HNK1YYXIAhB8mgTMsVLWLihRNVWKMN7u5YZDoj5B00elq5v9G11SwjLSCNYMD1lfebapZ8RX7t2/34qw+4iqt1V5I8ms0svmvYCZ+l91tfU7IIggVZ41ivIlGMRkMFl4moWAuSwccV6au7y/68Us2asfsSvMkZ38/HbpxX6PcOYnIIZO1JaZ4QvVZnb5zZY3VCMFNAjr52nb18LZ6imUJPrbv+TjV+mnqYtNdU+WEt/os+SIV5KX3yKzDXYwcWeIFNdQojBnKGNQgCmeSQyJXToV27TrrgbhFNehsM+T6QLJ75vLjhuV24+Kh1oD/qdIHBvnSyi6iMyacaJjIXXMjS8hNK0Q1ooosFRX+xTMOtEOETLi373GL6Cq5b4/TuL7PziviwglcMsQN9jFaMFl2mOGhcbCTe1+zKpoZbpRQW0/1cF2KWqVbQgOE/zljJZSNOLRkHV7eU73NHMeb3pvccOmx+Vw1fzoITw2m4mCwxUnHS/VIURmVoQOpwezQjqr6NsYaN/Q69qunnvBL/gspsIB5zMnnZwu4F3xE58sfMj0JXkaGeqCSA51WB1D4xNQUR1SVO33//ofrsMz/hUztz9h72T7XeUN8IIi1VNcBu7SZX/BQsb+z6dmSvTd7NhqiekmQJhg8hnsyMj2BUnwGvVZrgESRkG2xTCSFWHK0ZsYnTeUxcAI7UiqY0gEQ5QpPtGWVL8DN4DaPkJ9KnhU6uMAgIO7LtAoK+LndGhi5Lw3OudMkEj9Kljgu0PyA435ESTtTvpeDdfAm/5c/y+iunt0so2DABW/0HeKVMqU2g6X5aIDuELCIhikZ3OQCtETvj+88nYwF/aM27PjDz+aSpLTKqVsh994OgDTxiw4mj07qX5BUpuCljr98O7O+jhdJ0/Hxje5q6N/Y4krrQANrMzl1LBj16t1AjxjTTID56yZZSyabUD/qFRgrClwMMtD+THr59q+od5IMBjQ5vu6VIcFCeI/P8ybPUmMOX1jcuQHfCSGg4Z2QBPv6KzDg1EBlEB4i7PJoIiNKU0L1te2dBD41icR9a0id+OcMyIj6w4uJaTeXvjt6BUlrZp3qCnb7Dahx1pYZVbfK5SX4JRByzNFkZbVOVqnRTCaXoEoHBH0boh+aZAv3RxaRlLHNifP15PR9BsqUNLDkb13W0fMxu0y9FZEXhJHvdRvATOu9v7ixNu/6JminM0lJDp7lswARldkJaBebliz0J8mUnOcRIqs1rgBTAGJifyJm9T+yFk+ONq43vbVRm/D7EP2jSLDfOA2kMyJpgrQkKTCjWvwGm5XS+Upz0G6bF7D455FZREB67hpX8VSwnOMZSM5sN48B3EbGN+5YKJfYnuZoiZQ3sosK9ac1I9Dti/g46QNmpNo/86Te9b3kXgWbjeq1s5X7iwYBZe0s3J/5S/UGCQS0h2bR9zVZV/EQ+173r0zirn74gq3mlo6VO1hndPL283xzSIbGrBh/EB3Dj3ZsMGdKJ0OddK29DzrEwB79qXvSydyrVdRxbldLCA8UvwJZc+yUP7bbLaGUHlY6BCnBBoTJpvJHEFjyg+vowIQE+PPxG2ZOSHzD5r9Zjx8ITpKKilHEBgz+xT7VWhyMsKkYlVKluGgPusRA24l0nNHMrnEQEa6gn+ntnFUWuP4xUOTMX8dURSSRODjOqOxiwCVaA8Mdo/mKxO/PYV6ThUEOBUILcTs2Tl7nDDXuEcavC8bAs/SKbEofjOUF7K5CufwEHGEVFtUq9+zKoZ+YY66ViTmH5qwwrubkywrl+QTPJuy8COKklUD0opHEwzSmIFBQ2djHF9+5c4+gWcR2NujKfBPM52dCO88KkBrxKJySjjB640MFXM36PYvrHzAn8gUa+uINAgmixAaKq1Pt08diQNaT67K+3X9+/0AzgthbU5VCm2WwiQkbB7vk6XwFMq3yLLheon96RKvOOdMusROulrlOmSJnyVpI1CaSD40yZzo8UIVoXWf/hUzWZwA9UhIPzKDw/Tt01luFxU572uFJ+6vJWUuav8vA/dvtB3bwtUlchM8JHITp+gluwajxWg+CZLuTdTRaS/wyqkUdqjFGzGixt8LcKwpJAGtVVJ4zKP/+U38+OC/nr9dvMZRAAmBRw7WVv62qH1l9D5fuv716NNTfKrXVXQeI/zm/+1Ip6lPSzuS3+6XyQOxnl4M4+8bv+4elkDQlBVbHgNykOm+zoucV5WwdofejVNzo/P238zE3StU38VcOFsxxR71YuoDKjV0Kc6oEvP1rrwxuazhEs6X+gH5Q4a3paQ5n6QasLKSdVZvXZlT8lkhlGja5N/NUWrJ/NzAYYWuNXKSG05pVnWV8OBTX0EINRhVFVX3YyQ88dSBGuyQZ2WuRx2S7pvIPWvmCStF8auSHT6dXk1awKwYudSZmTQc0vZ+A8F1gSmMQCqZsqsFXOOPEH2sz0341zUEDVB5fzeC0VVJftAzQ8aXNJOIO+ltLoxsYqZMpQxj+As4k1LP5Ki9s74iom1704KNyFX/Hqt5Z7osYHxVD9tomjmnzRXMljH3wGfIVrNTXNZF+V/j9AjPboop24b8DGGcm/uvgbEJKWNQMfR0djaxLiPWn832uiqX0DgxnlWLRY6YfgoEBPro+iLvY0cpRIcevpW/I8xTn2xWZTcWquMd4x+UoppMvnfVrFs1ZguluihAcnu3/U17reWwcY7gk8Sn57Tbpd4JFkjmQWoQjYV4qy5PBNF9NSaYfxTXd9+VHNShzeST6hbYU+nLOIbmMIGiHYAi7gYuV+QDWD0lJ1SV0yTTpNNtx9hBo7gM+JhzFEUi3c1XS+dH6wT/SbVwS7Z25MtQbhE6QSR7GAqLAaN2Anr0mbK4JiUkVoMjtyQkIMUeB7DLce5OY+Ct+CktgzKHAjCQt8aT7M2LhxjjuZ6gaOu0augOsto0pxSK04pJ4X2J3xTOnw7+3IQHEcEJmTCuekt+NkUDeepQ0LMrEJRnWLi7LA8WdPrf7RN84jM0uk9fKnAI/T6DAheVUB+lsZ3cGVSZTp38kL9k/RokmPPHIaW9fgHPqxMD8Bitdshg2zTk/EjPOpHEi09mcC2WQ26syrFeeSFaaAypBVoxOJMLczfD6NH4pRE3AzF2+4ZrkDlYdQeVrzrnfmNENEdXyPdWeeM2OCXoC6Bqa/SN4Fs/19uhk1elJLUuNmQuy1p1JeSQjVrV/5EvVidxNeICv+AnshUkF/gqUduTyt+Pm8a+XZnYsx8JubARVVeOPjcH7cnOBnMoFCQiJKtc+VQmtTe/bAqXu2sxBhNkELlJo9KIIhi/qovN22f9pHbXDCE7bDg4sJFsjyx6fhktVHvnVtdBLetsKyif5zJy5drLGv4ruMdvqbOUUYMuV9HBx3OsbKmAqwTZzshZ0GfGyt4w3KBmfFd/rNxz7ccKSV/ZKg19d+La9a8qPIr21RqJDkWSQlZEx6dhePAaGOa3In8dAfydr0Zwev6/2+H6667nM1EfmmQL+y9mDkiCmkP4R6BLYEnGV2ktQYyroJTkd6m1K3CG79xXmBr5uHTrcQ7iGZbDSKJjNp8Z5uoLeRHu2qlRlPmcVAFo6UUlPXnbYCcXgqHbVoQZGmKSP+s3iyzQQEqlnaRZb3y0DGuIjRa+sGYT1PUp8I9kfx9ic9p2UEtytDDU9NByosDubEaH+Kt/wgL25u3YNheiNkMD0VqDwdE6BeCfaPoPBE92RRh7CkHLHATIeaCPMGOfgC0BMlG1WAQ/v3253BFAJ3o9VFypSFsV2LIjN1+Ex7tiFw2aJE+dga9mDCVY5bsCDrPHb+ElyrlX10Y1r7VcUOPMtl/8gDLEd2o6Og+mI1WgJuIDnhc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ItN+BdkIU6kSkys1oz4FTbg3IAHFZDQQIUI41CPkYeCkR+S8QFB2kPylUA3JsntOnMnXuTmmpeohPhgnOvWjiNP4cCh+z42DRoUDd0F5oEyYSBORxcufULdyqbjgsLC1hbu3v6AK8/KZla0/zJFwYx44yx6IV0fcVWYrL8X7vXePk0vxHZZT83xERsDVGrT9rJOtO/N2KUX8gc5O+9jL+jg1pXSOp9UJM71MnkGEFCZAFUtd/1xOaH8tUoiXos5Xfh4K4FGD37pp2keYasLRPwxzieAwnaAVyrBTfaZl44A0fXBxuAo3nzsXlXTyF73sJBiiWg11CFITeA1GheR1UIEkY8g3MntwUsVbaRLH9L4++pNxfCdbCtCJUSlbsP+931cjqHNAPX2HLag1vjqqdnEBgUZhJEwCMQJ351Y/iwKKzDT5KJX6Y30WcUAm6OIZZ8TenWGo/m4mZ1nsGI4lDAS6KhbhF2yL6EbcvpodtdGiAFgyUWZmWw498A/9QXbOeSDbJe1g3fap87n96R391l30OppGPra/juL1+FJRVplVpiebvw2/8cpVLymuvOwc7Toq5YRIuWVT1G+qW5huEhFE+zY97zR3jEa8zLKyFb0zDJTrU9RBMNbi1Q0XGc1iQoz0wkIB6k2pvIi1MYVxjr+Oky2RReBI6Z4vEYFgfdsVlELBQCSoDYCUchlfeqoalP8aQA9MldKbBxlPzmDOFA5akvUOlKQFwrq+6Ll4IBkbMzMRYLWXOCOPLU6GUERaI4YPlbxtxZmZBRExjA9rvNByfzG/QAzU7XDhSUfcx5xieZqqnFgK2eFZPhlsz20MeYBHD5dWLImsiEJ/eWpsd6x8mS7mpbYLZGvDGQ/zqqOnjFXGlARew27HJaASgt/e448BG0aqwhnlElfLXXojnmg7lJYQYJOix8wAdTUAs+ZIjHYYxBJV1HILka0uQH5zPD2kWXgPAVirV3pxsIjOH1ujbR+ZL3f4rVUgGZHCsxqQfXXzt5q5ONIRe3Zh0sKspOJu/4soGlXCmPsuv7DMrkihpypQz9wqIYNtd7mBsfayBKo3Jhbuuk342v7s4I+sgPKzLL5KzV3C41M2aoUMxalOjAHWuJQpFVwqXWcZfb7KChG7uZN+MtnekaX8OGBSTaEkixaxI0j6pVsirCgHF3MfYsf8H39WfhUsaT0JoAHDPnIuNMTnXrgWUQr5tH8VVFrS6O41hWby2pk1FR4KSDXB9tXlv9jEeXu9mCCpi5pTNqTZeBt3852fNKwA4cYB4ZFmIbHbqZEMEjRGBELVLpofPgEMFliWzxz17bfCYgxvV+MUrMOrtag6HjcA3GAQBqsfuqbrsYQfFGIJHS91Yvgqap3Ix75l5e17+Lsu13K7yqgjg49WU3Ue4izuO0wCnOJlz5QFcCE2ScJSzo9l7O2TjOZcCqamexW+LUwYOP7EyEv+R/j1BTrUCl4I5eYJEbG+dSw0kC6Gd613ps/fdQqEGBykwgVh+SCjvqcgT+CGkKyg3jhwKVHKeTrsqRB5uZGSKNbilVp/0uYt7SUxopMrZqfnbBaI6Hbvei82InHF1LjoY5Ygw13YmohtiusYV+4Oaft+/1kiEIfffw5Zfm1jM5zYfWPV3Noc7af53DxP+CrTA0sKtjSrUcerkOQ1OTpHAzTMkoPJPx7CdvdBPKp37xUSpeJzVQORuzyR2FZHHIVVmLzUUbhiZ9A4m9rvzfUgGs+qKO5SbpQfNzb3+ZAVIuMFgjuWVqeQ6FdO9apSzics5XT0fgnjlk5ovR3rUjAKYYO6XkInzczA6P3e35ISLhvL1jdDH68p04W7gwLLN+cQ4i8t7o0xEAbOcIdQvi1JNGiO97f52162XUGGqrj80gX1gSURNVjWVxDdcvkXNDpuio1S6VFACN+HqsfpmGQhnUAfXZI/pOLXR3xEuq/O+rDBF6JJmFgzum3Hd+A0yFJUzpKUKRVn8LKGB5YlxWlSJr0Isv373yEIuZbHNdySPT6eIT+Ama2KQqFLkSJJadEXf/U9jOeA4j2DXZj8mP/DQ5EgSvtDbx0UR58TlytSwiWevqTK0JCYkU3YGQ8u7qvvmYB7pmRzU+CIOhiyFX4nygVsVUbieoj9pAtDFkKy3FDSRARFdNqN09eFY87RJ+5mJTBadjsGl0eYBLZvFBd5FqEeuArvUXP7I7yJ2CUDY61PCIOBz2lxYr+eiIiKjYZ36mWGaUFEBMATJ4iB1h224DUk4E2JHhDOAgcVvFYyiZtmyqXibwsC/Z61c/R7K1eHdGM6rhWFcULkxdvI5+h5RDvzwPxKHZbRetP9GwxeFtFnAhXXy6VHz/EfFvreFFLBRQUSflqpeA09ErE6nF/etFkpVDPv6dU1ki/83fFrUwYXLHxtAEaIgRq9erCMHlU6N0Xod5btAAjQOC+G3Ac/zzozIlpKMThZuHN7onxdM2yO5f52fRRiMxTrYXSKf16sKF0aly3EX6FHw2vHrEjkYOFPhbERM4vCKVZedjVEzmPtPR67tGJj9eYI25eoUbuRPrWQBrR0Y4nE45nI7guMZL+9qIxvn2FX/nVezZnLjNnCl6lJH6U+E7184GoJer9XbP0/BGTXh29bzQI0KcDjUTL5gT980okBMedD5z+Oj1ZmFyu6TEnMifNjGXK9GXuDMvFYT3BNC5e0gKt6506YSxWAxQG3JDiNy+GlWcltxNl3t8a7XTuihmgJcTAoaLIAmlENh0/PWH6vKHsgEk+8ZhrVavzms4Bgp6trG+UgBjLn42uM1GjrT1Y3UV47Y46cGNMPMgH0+WYrTLtCxviHB1vBDMc9FweVoZIhPmRZtUOoVdIoOwMa73QvicuuogARQOSmrHL2vWpf7bzyugC8DJfM2fW3ojqzwk4xLgdF8u/70gQiWNzoR6SPOzvN4snFB81nHhgkZR/Ezrap1peIMYpaGkbbNpMCatK1d+BOuKLXkfyEZpnHR7VJx0hGlsQ9gCJvjpJLTqvfh/wl3h6Q4Xz3JMP0u4706CT3qMznWrpSPU0/Iz0oUl8SsYKFBSFHGbl29AQU/c/cPHXpo4Ip02ugLwdOBqNSiv7+QpdvUDsbVvTkN1fxy1tTR/DFXR3XaPzBpXknYhr6OIjcDbH+K1tMvLVkkFNNP0C/KDfEFPoSwkfGAoQNy+JnNyz33CPaSmiZjEAqHyJXwUBAVnX3X2f/hqx8OJoGh1mL0bP0EesISpeNNhLxWNIqI3wsxM2oqs1TPS6IqEU6iqc876cKgVsX/LzICkUZHDqaVuy0Oo1hQmjV0l9vlw8s3cf9ZemzrY8131w9cwi3ZqPecQ9napWnKD0083/gjWykJYYhUw8CIEqTOWLG1maGocfXt69XHErChK7S6PLldpPVQgktYu+ZloeWsFgJm2LuRn2hwbyIi2R65z9hkW5wJmW0bocBmrCBqRRXK9LCLJWPqF+sGGHnunDf83MAjV70z70mu1ACUDplFhVoNqGnlO6rXbcCr65haEporERDtQoimJl7N4SwvYqNwTCFWzr992y5MiBlVcB6e3Jndc8qhREOfH3/j7ZY8VXt06+3JWAfxLx5cOFWv+04Fwb30jiYqEiEfACicxt4SnBPZm6EdgIMZW+i0Lxjw1gE+7Q7JS4pVM52z/ZPfkfhGq9GwYrdqUg5W1nWQlDUZOiJsAS1k4vcwthPK2whVRi2Vv8uLaSsDtZ92ZwPbo1m03N5KoU2IOw48oB2+SBNUXYdqXp0sc92yYGdsmODPQQXysgWWCT3dF5Ty/zhhaRcD5oL7BnwWIMgwJLxXPOS6UWNbopQnwQfJqM8fQ5mMnUzogctjGtsW8QsdXO2bwOGhMIhdzsZfJ7cfLfPb/ViJtK8oQCXo5EhUvJyrHJ3uqD/072DXhkVzdqQRpXu2LdOUDNUKQ95zGveCq8hstj2C0PstW2OIOz8ZRq78sh6AeAWdNbua5dTTw1mSVwTJCQcNFdy8015AlDP7+lAXzTEez54CCxIRF0yVIHZDZZE93mpNGTSPOwDwfbRzLuLL+svOqiKsSkR7kz212eOldzTbRMbMOQszP9Dltm0xBQ0tI7a0hbClLInbZBOIaT385fxklJcDfEhneDfzHUsbRaUEmy2uvUTmFdkHRXteRZZwgvvXrkRp04iGgJjo+b1obYbKLiRsvynNAhF860fBWlRvXkZ+2vwqC11+hSYkl5Ltf0+kVPQyN3iZw2c928TdEj91jOkw8nVwWdTBIO3dlIjj9ihGYaqKtccWBRvjO3wpMuO75V0I/kDPRNVsf/2kZyUfFqErAwF7iwD9TXguMUv4gbMmcb04nPCZ9BuasTN22ei4+cJxpZ7uMJSowRLdtJqXvXuz/0QSunbUOpRtbAtOJaYCer6zAxKJ6d45mKHh3luA3EwQAAv5YR/comBECVADyDhZQiucUZkJ2Ngk02jimed1zUi03qNjh5pfYQjZwrW/W5MUEO2mnNV/Hzj7KuJbw7cuCcTYB5IxokbAA0sJVCD0HIhICItQR0oQSsphbWd7J7IjP0deVRxeUkZWBokiAVoYgtd/bhIvGCriv7Q7zoT7ZYd4/LIZweGvAPuNqeX2OJOCoWUJ70SvliVtLf/l5XuF0ldhPRcgEET8Hi6s+O/wOYYZZ1SCfFDKWurt6fnF57BbH1WvQ8aTSier7DaHsLzt6Gx9taFtRWrifmthfaF6sPF/0YQkrVFfYVFVT7+50wsp0EZ4iBBVcamcTCFWE2yXZqmu1H/XyCgomaXiuXQVBy4DaSzyl+qoJ6bXXXPVCk/XKRhrTI/Nygp+CIon6sZyHcxrx1yepcue0cda3/tAX4KF90NQ70rRr+s0x3DWVV3l0qBcQz7JYatKKzh7MmHieO9NIBlZXgxcBHo0c2wzjzNBYMc3hVLkXCE76MI8scBhADG5fvudngxYgtUZCMP0KGolbOOdGNckZDkXYWl2bJZ/KYomoZMbg+bSHWySQhR1+IUgFjdaogaqe4zMqi3fO7nLlMOAcVWFQTR9rLpwZ8m7sj/NYcT85bVC/FAI3VRNcr6f6YIGTgh2QlIJdAis5Be7XvN3bpaf+9Th49yfnqzwBtVG5i3JLwiLRG1UQbNKEZ4dqldfezLJf4G72gMJyUIhP0MM3FDIwYxj000dTeBjpgISx/9sOPjRy6ItZ6I5XtNTzj/zuzJu0dk4l1tq7/rsW+Svil1VCv/vrlmA/hO2/3rWgSdZVfyGBLla0MTCCd8xBPm5ixj4Q7AoXQQHZjUSY6XYWTK8Wzx3SyRAVrc+K0jABSwD7wydEqAlky9QN83d3l0WAtEpdBaxvbsSWK9HNIE3h0ILormYWUrO2YTzDugyXIgTmEyhb6zBVdcSTwCkmMsXy7k0O50bXl5WfA/ZN7wqg9EsUm5TERR2Zi3KwSdxqZcpyOrBqz2F0pg6nEvcP08me9tpYTyQEE3lZTcx196kUaCuipJ3yXteo2i3a+zcuZ3OOMR7+YsPPIireOmonOFetr43T/tHvKXu5RIKSZB3clgcBh6+HignczBSldYuNa2uTOFp/Yq38hB6rtYgmBOus3OTMOrm+x5ioSpwNZ14quVVv1Emg0QHFQG/gKNAIh8GmDN/NfP6IWV1ip5a5fgWJz3CNhlVT5GEziBSjUPIE2QI/o9dvtisTdSGayRJGAxNGQVXo93BNmcGNQTxcgR5hbjB70G7pM2Eb0omYUQHN/hv7aw+RshvWBk+TNogFJ2eTxMZR9jCLsw7AC/LPZsJmU25YIQQ2esmBa8igfKeVYcIA+1kb6pibWIqJ05IbF9EXknCTaSetOWAqvCO2B3mTdi7rXMDVdyOmIjchibNRmkKfTSaSUEVpFn+VSXRYUhmGLWSzSLk/wkLih6QaSb6mkVKDu22sHRRgc6y/cont8sAx0jcAiAJs/Yy09AtXhXyYInPP+No7VhbfnkJ4b/A5dwXTlEOpHMB6dlnID+Q5b+7XxXViQFy9OWzmAj7nzXxJYkz1nDiz/w65sg30V2bLFL5qhNEXQGopfIZ9fLoqwuBnVleV+j96ZW6xrU+HUSqiyJHRpPtQz3N1W5CrL5tfU8hU/Hl0mLNeOnhhLUpGymy2hoBIwpOZ8VgVQLd5M3SHvTruVxprUzLvOY7nq2tEv/yryVXEnOXWoyjfXtjwIeJ6JtJm6I1JdDuZndf/ZW3ihSRMlvVb1/IxxmJr6Dc32yLGQUYKLWFVqbcMl1JUrK4w6My/XrZOG0I9QCDug20OJO+sOxp3YlVv7wQldeUxQWph4kIGaNwANW4+/REiN/waRl/MpCTAS+Fgb6bSIbXSoLTFJWK/iVisLeflHv5qRkA1YSIAZ27l18dUvTuB2jfYoQJz8vqpzxclAXsspDukpVqpfvuFDhyEGzbDS3QNEHATtPPwPoTzk94rHVGS9O/7/KiZf3HnMXFbYDV1WjaCPVRK+gx4sFiWe+6BFt+Ibn0O2aXkLfjstOcLEAnh54tM9yB3qyhzJsfTArEcrB1OpiJQ6mfSadjgUMn5KRxTbZA3z1LbospE4Se9dfA/A+PAV4EVpXdBIliqlQU93xmzISDNAA81a3umYLC5XWQcUtCJ0zBz3QfrmvELmcLAwgZ5YH/1OSQP7b67B/gDv81Aa3Wsg+3ztSLcbBY+/NVyQxMoHipFAVdcO/XiSxYe+ygeUR2j7FQNfyxPeM9nSsU4a/FoTwf4e9l/EWKA+HeDeJUuDoXdMiOGd4KO4t8m0N4q4yYehZC3IyWPrNHdcavLKD1lSFM6qJurbQaxgoQrAZSIj38JY+8aJFY5Be+0iYzMOU3CCX0NbOLXdQ9QFmIPjsMgg/DIuIe1iTq+pv2lomkrSdmWAKsH3+fBUnDsC0XFiabns5WhIkPR9uKlTCPRHbA0PJn7l8VhWelSLNIjI3K9m27hPQnE1B9BoyXbcup+b1QdsmcnfIufRZpaXzUZ8PYmQypA/9NkQxOxyIw5a2aqcl6L9hOEB19UkZTVKJPZJVtCtiBDHO2B7o04M6CosZ5l2opd7zdUeMMByJ+1s8I3zIqEPfC+S154cktqZ+sIaO4mqEA3HBUs4OohGNkDYhvlA7KEeye9VL++NNqTJWUCtLKjxHKrQ3ma0kZaNeXZqOKI802dlH9CQ/ozGeC0CduafD0NcaFJPNnIRggoNS4hxRTaTzVF/4SbSvQeWuXw06gCYpUpGwOOWHx4tUT6kjFn1GFjSxTaNA3y/lTvLKRF/fokD8rqO0kRA/DSx2X9zO0iQaQDcQ5SHteXSE7qh41lrk/gIF5f6Q9aJT09+P3AwPhi8zv5M9bUke757usYcGgCfnbdygRnURE9b4hia/QiCpH0jORnMsIy0AJPHH1mpAirMMUJcf9x/F+aqeglVZ8Wq+uHVIUP8M+ojMmcqSZ7CAcYMm5sWufP3T7hbOaU4ZsUjohLenwW04bhfAfwKREmYUO/aPpZC/y5vPNoyQ/UoJYWhqBwgyM/zVvBMPu4bP0vy3eg+0WHDabmLl+faTque6TL5nKSf+VBqI1iXNYIlo/dQeC/JRe2gGRjuyN0ltmpXQwhpMPK8P2UgqxKHqKrI9lBh19BzR4sO9EoPBn0rbg5S6Vt9KcCUu2PswLGKtUqBitrVdwh9R67Q2BdfbR1k5erx6ic+85XDnqREO7UeTiVtWH3WK0ZpCgIKJN6B6TQDXZCKHX5+7b4jfJSdIhJd4TuVgX9INTXU7HcFtO8rzrVbtgRiXpWjBdiGKXseaCJNCz0EGXVmkSgEN/yqDK0MFDFNOG2WnJxva44zu9TjV++aqQGhb/kO679PLUKlGCw8eQRahJI074nI5lBtMmA26xFIlKWOByKf2kt0Zmr5Z5OA1NYTaZF9sAHB5QK8dN5Ufvi0lWUfQzEhWaQknwo6xccVPCPaQfo2/DI/BXUIl0pi6cO9GwD/lkAVnAgU8+9WlyzJwfI+HlRBReX/X9tBeNyQxWRvhxf5NrVZWEHulkiSTNcTlex5lu6JGrXVCRpnl1ljWEeMT7ZizurTDQCWkHpb85s7HNNkT6P87uCyK2F/3k72DU1nMhGEeywoky9HhVtig4EJmIaTZwfaNOXh2S+uEUcya+Pz2R5G03EhdWMlXiSUW2VodOPBWvI8L3Qekw+UVe7ihV2fuhbAHChQVCuRDq97+QW4twSvUU7WymUj8Vm90/07bg7/SyJ0sjqbf/+5U6n8/1HJUdRRD2mfcntQt2FaOHPNRU7mSATsTKXoPPPc/ZEZUE/CQbuaItGwjRxazfw/05f9FppV0VMwWAp1RT2527UdI4wQiTN3jr8wPpoyssG2HoLPSui2JrQGyHk5ZBCVV4gbafBdTQZCLH4M6aAwmcPBBiZdVu4EYU+o+OQkKeXIQhDFpg9yTUbE5wuV8/wAReNWyrk7uIviMPPI6I2PdTSpHKAgaBonquUrR270GVoOUbY0jFun/pW3oCOFCFcPJE5lxGDuXHkKbljNNYrKUIZFhW57e7Av45OltaMyVK1eP707olvYW2rs6a1+MF4lw1RhS6jCgZFjbLECT1QRlXsAxLRv9RNX4SOeaP4KNCSt+oy8dJQlLyTKb1NldUyQw5YGTFnzMLCPfpeXwEY1bcTL0FDfiwZQ46GTHAvWQAVsZ73D5XYg8/rTTEC9N8oUobdXKMbipbRzuvJPXpc8x0l3HjwoSD8NjsjxoQnQ9iA3rZOJ+j3yPYj05w1qNnEb57ELpnb4BpaTyiS+Sx3cVpUUoc0oAWxKrmtWljzGcmalifhvdaY0szi1X1GTqJrrYrNkSSmyPDTEd4c7VX8xCd3KkBZ3zR4JLxW7fYHpqhaZwR8v7/Bv96CflpfNws5A5O/L9H7pAP+3eLlE5M9fGMDZfaqqvvbg+iLXrzSBxgq6FqSnei1Dzzo1267LOnjT4Pt6X08JhGVQHw/z1DoaJLkr1p+cp0RN4FNg8aXXk24dUH76o4arsNsM37d1X/YOAkxeKQo1XOnDprzqIgFjyobAxmOqMQ1OgLciqYSvRuymZlM2e4QklrspDuxktmVd/lsHoxNSar5g7hEAv+fPJrUwQt8933AzowFFiITbF+CesEB887YuK7PoExd9yJz3AmE8q5RGhz/bfIeR5yjoq1ueZcPNzuo7I+xagiHb2QZRPk9ztI5oW6ff92im+qfEgmprsop21155frhVWT3hE4ll/Mmrc30df1K6xX80x0AeYW0uMNyh+WS+SKc48BJsyk+37mnyj9yYYal95+BBrt5p1/BYmKCM08qY3HgKnVm66IXMIxVgBvuiP8xqRzD44NyE7uvsSVRvULrCGsiMgxne4lvXjIv+byV6uAICngPYxCO+TRK4i0tkypimwEENyWl7yo9vS+FJ3AIy8teeZYZZxz+ylInpLHGNQNAZigh7g2dhEbP/YHJqw/Joh4J2q32mjJXPZP//LBvDXVSVtlr8tzUUS0E9Z+UvP1fSkgNuU0JBlsj93ydk7KzobXG00A/S5HKWYNGg+KtaIexGk9K1zmnQS4WL4VwYqh5Ao7oGSnoC3sXJnlyhgoijxQPAND/C+hdOyMMKyIlMyFrgQbd33wVxEpwmwzP4QG/1b008u0EPBxXGNqDIq3Fa6/vZTnasdjvHQ5yZu7oZ464Ez2UqRkd+WslQkpLp1bpRU+FjDkNaLvQNPE93S0f3KcisWNulLPtp2EkXAZItN+qWrzNiBiyS3EOTEy7w7iJ3mIiruDdT9tPKI0ae/D86RbveNEj5TLQ5eIfpY1kWfBBY6gxBWmB+HepZmKnWzMqd/90LqotlFecTLKvH9ovPWqKd6Qst2YjyvPffdCXULs7+Mc2dIhsPsoekgaJECjC7hP/fu/2l360vVcKB6mDyssz8VVX1Uj5zOAtP9v0Zva60Pagi4UbEUoce3CBqUHthdVyy+d+U4AVQLCyYUMQAf8iG66l5qsTAUfPW6ojmUEPcFZFFsfX27+AC5t6F1aEdPy64epvJ1AwTRrSV7JpQAauyUVsoJkezUY1pQu1LeLok9NngZDYP/60vWY5KTBfZuawtgs6T0wzTkJAtHEMmohUsINPkyh1tunlPh3m1VT2pJSPvA95IkiDPfQLawif0nO2QPa6ZAfL5bVQe0DKkXqfc/AukMYHCByu+1b2wqGZWDLXjkNU7S7CiVy+hUudvp+o4iwFsb5VcgO+pdpRTt4vS4P0bRoWvVkfU5ZwUSaoa1jq4p/hrPoTEmuqVXNie8Zp+7Y5WJWvldpCzzd/yxQ3ngvlm3kXABqFSPwgkMfWLUb1XGg//y5eh0f4JhushBNJ11+zlkLRD2rvL2M7baZ/o78f7l7h5JVcDmZE4PvcB6dNJQAFCRehnIB1kNRPIWdLv63TcszFia0P4nCQM0xWmZ7vAf3ZTM8+28nSEiN4aKae0HGHiDrhEzhc+bTp+mT8/Q6dm5YXZqOoVX8IHkrzjaF1MUlH04CXRg7EnuIYdzRznl9O/AbCkuMWTgPgYxqPb+Zc0f0APr4olb/uW03K1uQuQKfHC/OsdsGeAMEIS+YiLIOGcWk3SgqJqdV3gRrSifbexr1z6RTOIefK8715nXrJmLKFZ/t0iJSBsjvAGxf/MylLXA0hpEj3U9X4jq1Jkx5Ape/VTpGe1afd6CSZXflpjU7FlDGJwXH5KeBA8yDAaqfuHoKGyKbYIAHJdDRwmL4B+30khgAtpfAOzxSKQGWqZnuZaAZ/85dVoFiJ0+DCousnHEL14zoMeQAHzS9eSN0rEUWnC43iAU9RPkzBe4J7NDgaMDA3Mr9VX8AUV1KDIR3H+RxKu6yG38EPaKDonxJVqbLzO1zZciGxQBfcm1mkRfjT4nI+yijGldeW6O8qjcYZeAJGGutqoaQBsdy9vIrTudD50VCBUXNvlZ6b8by1JnuQ1+/cn9uDCTOFtpvlJC/kq27r2ey8hSGyJavBDiI8mMPr7ZiGSkR+AenN5XVsGnTySpspFga9+u84FEtZrBD1IiEbzIX3qJLEg2zP7gWrBhtHUhIuM+beZZd/mO/wK92axiMUC6bJ7UpN6FWzDbf1qFNSJ9d5+S0vaDUhRUHre6d5vFlDFMAbRmJTjaG+wDOafLjsxPB8N6v8fD28rCaxkZigKdW1bRPP5rxWxczCS1g1YoW9mgiuBWopHD9R6ujqztoZRiiLXP2wHl1glMDz9O7cBxwaJwokljX27xefzhcqWrKrD30u/ZKbkJlMHBi8lsk16DlpZUQUI1BrZLU7kUIM8kBAOktkqFZzsJJZxWqwOlJgzpC2qnHyAYgbJNC85uvIaDgGDaU4kg56SVulIBSy9ApoLLh4MyJwrDrHc3LgVsQ9UDjqG+Ekc37+3A//3XyXakUs932Wk++Zyta9yuFMOD3ii6ofc+oIqDcSlO5XFko7NVT/lyW6P2kiyW/VPstZC34VR6YpALaBYaLOUjFqNM5AvRDwaXyC4vtyedV0Fdu4Hq5B4mtGUv/oStUCsBPos3sEtzCKXZ6XquSpxAFFDHBpaF7O94V/nc1szvUJqpcrIj1QkFk2O5ySuCRnf4kHEqXNm0TnlOnS2tmZSKT9VutYgWqVJJ0B2aiKmqjU7WM+pOA1zokkeEGpxUIQTnZHD7XM9StEnZNLuoNgMkfn7jaH1qMU8KrLOp13mg97nzZmrVinNj73Aev/rlBLJwzS5e9wf+6ufhJ2ywWHsPh8xNPV8dUtGD8izGBRVogASY5ZruPDqijz4ycycr4UJH+SHiQ/TAjKTn4NHHkzCmr+M6hXIbmPOP6mQx0rpGCZfUYzoSDSAEQDZ7jCwegz/mxgrl+3d067IgNQyPcO/OTJ041lryJ0Rwjuh0twjBA25R4sCO52fcl5nBENLOQD4kLXVILOO5HzyL0btqJ+HSWl0lDQJqu5170L1z7eUHK4Pqd0O+By/QLxuW8Mk2lBNsTl0PUSDXwsky5AXebHAF+CiqSDX3gvu5FTGVq/w1xtOTNhzoUWw4Nmv/OOLBh4a97STD5vP6Y380ZsZS9t3MSPL+67uFS1qCV/gJXIoEBhnjwpvNfMetgbil5ZkDX6ypoGl5m3EYyiECISeurwg1UjY3ionD7C4lDwyYmG7thPfW5X3/TLNTvZZqdYt3dSXfU5CWuPYgeRZpZ6qXgxcH8ffSUXN25kMTw7osRETChW+Sa6ueFtyFyPxDmMR+s4cNMwma969Y1Yo1HoRB/W2CRtVWlNIMeCLWHTm+xD/Qhzox4KeP5+KnUU/s/eyJ6DktJHUvPgfkk9KhAiZG2jSStGkMoNFEW4cQvkdiq2b/PHok+fg+Zed9nauYH/gC9C7cHY+v8X9obiZ7IQQTv3AhDOpudVAThNyFN84xuBt3ZNtwJIE0Ict6IoZgRAW7R/iRh3n8xTPwzJAbUOqic7bsmCn9h2aMgHjKrQ0oTx+ZV3mbROz3Cb5h5PvDIjGVrBWdu9z7MvYzXb7JCYxgkA5k8ID7pmYWSX78fjmMIDFvUiVzOiTZt7YMpzsK9STUdGsJ3KKDf6F0gHzRoFeq2VcDjdZnKrQKXU+OBb9+UNs8wZtTDdy6t/1pjmkZsPVRxPwL3xWZdZDMlhiSnA8eHLzAGBfzyw6T9C5YmS3RGnTeie2uVWdGil5sicJ4eKFF7MItglpgNrY+PC/gnjO//J+OFShDDx/n6gvJm+eS+J3Rdab34ahxlO8CHOVUit8RHtISwtA2Hn/MjDnv4m4Jaw6yJfzJVrEDmFIrngH9jDy3fgNOjqYr92dbAg/ivnKr/GdW2VXyOa8g8dXZ/DCzybr1A4MEj5dkrQnhqglgI4EZWVsGqTMjmSHvQvz9y1GH/D4Sgfxwu6uRArAkGLCSSwG5OYHdxd2C7wXvkt9+beW6cS1YNrZWBdOlW3ic5znvJ9aOJb0Lhc3p8CO4jO+H+IawCyr34QsvPCAAl5zQU+oARsorEzzysmVW8QIPgKR7j7Hgmm9QuPPMpreUTseb4NOpqamfxReeRV3dYK9y4SJU98dDyLDKr+wutt8lJT+j+90pBdCOxUCs/ivGgdY+niuACYC2Ztk5368nuA2F3PScRcbVQ8m4CHCeOM81/Yjfvkxi4tpPw4TRQvtt93RBzAZAoUSpSvskHN5uTd75sJuTiXsb2wwxjty31foty8QvmZ+pEYrtUCF2aN9DQfSsDVfiUhiYKKrxHcGPTIKAMpd5UlHMUdQ/ldj0sMcjbuvvgSAVFcEXm32QCHEthhWz/zriiHepmvvC/L3AoTY1L4S8MHxAu6D3o3UN3S+opBKu4T9c7ZPiQpZrZpwPJwiGcIL3PywfLYkOSHcCpyfPoVHMo3mYiILDSQ/957sJqni3v1BzMFdlcgdBB1koqbqg6oiMeUAHIduLex/DDLdVcXQvnMDszZg94jtsUUtaTEzb2iDxs0kFFCMPzYGwICPybd19U/KiDS8q8fwsFpLxwbqQE1AUCuNS3YQEKkFV4WZLTKP5CAWLXlAfQOwMvaiQl3TjvfjCdTM1xOJk0FHESb4Hx6L35lgRHoPyFW4PMUJZab2KSu6Ws4FbiKNUOzx+2JgrUFBxsjAC8dU3frV5iZT/1gM9e5ytpLPf9sFP1UnWaJzg6LGToBptN510LIKr9aNrxRFuvaUu05NE8sYkgFhQpZVP+cqF1Ve0B7M3dsBlc8PQYuZ+aUKzdhHAuon7DdwHh6umTnVTH7uhxdDUip+ChLGEcMDxKXNeHzJCv+TIBAE0mwRhCajKh4ySRnNt2Jo+UKLOR8R32SeMenTg3P9SkM6cr0void5RatOJ3wWViLAHpSdCh2vDc2qvpFlNSrNPvkBGAZVzKfR39j0DhlsaTb77r6teMttol5Z8Op4wnFqqOWdFG0b91PqdJITye/ySqrgjBbETbkVOWRYpoJcRlYneUZZW51pAYKlhDwaev5wPaDJaRu4kWutIlTFwKH+VBe/GcjXK68acfzEhDDS5pjgDycrBgoknUj4CA6hrlatkjY+WHSSdXMkz3HTL1jOBw0BAA3SM65+q79y3blZOFSgz95Ljlv6cFRu0xDwbIdAc0W4cEvr1RiF0sHj7d6/HJLFv9OAdM2Ow5Pa/tRHjvMD+Dze7JSB6jfmt7CLSsR7D86Z16L9dn5kvlYeyUHY354kTbAGl+KiBpM3g0Q3QPOJ7/Cev2W8nToJhEtu9bVho1Jx1WgbtMtrs2RIyVL9AjA1XxA4tYDBBMVg7DHkNbMtiWrMbxa99j5JA0Ix+q1L4Kw0hmKzQCeGc1va8TePA7AMjrk7lC2O7zGSy5B9LUc7g69Gt1rTeVIgyJp7q+aj9b1d0lPl47oPcQiguke2OFr7oIUjk0CXEVmBLMVywmznRQSgVA7bjxERbETxJhqqxmgSw9mLVQAPU89UZPyZZslNMmIi4tZbsV0HUxm5a8fe49+SjPn07uQmvC9Ge6G+uc07onAm1R7bEk5hxQoHXnwCmrWuJk7NqUu5eQRv0z+T6u3y1B8uVWWAoTXgV3tNuYum1+Fm/WPS+6zWJ0ukC/6x2ZnYIKk25ig1MpHuAntl2yKO+TnYe59KlJ43yjc4f/0S+kAnjVGqs/TkDzYh4b9PYiW1jKDtYyLz6k2F9s18C2tKlPdNTx3cxHP4As/N8PGV/KVbOcT3vRk2LGdVENDA8nENhER4/ds85ZEJGS0X/o7UUSowVxsL8iINfnmMkgH411619WIomA6+8HDie5xWDs1x2l3koOD/76vYyIjk9lpkGms7hIozoedzeUeJCtVjnfNuvXeeSdCN8y3IDBmKpSnEJEWDeaiJq8sxjtlrYDfAXAF5+KuAB3xsM2hqBOffVdCxMldE0gj58xBo/3iVfuniOryq7jbQqZgaCru3eapaSqhKLgjWNRlw9yG7f2kLW7wyr5xNaALBTWeLZhlJV32+Ji07CPayvp6JzmA6SbOAs9PXxSX0+PF+BWbUeOpyYYkIetWsP9prPsrwCi0nOtUqbdtOVPlyQEEWiYBrrNoVmEoiIW0YkBICSk1xUXKv7R5JBCWA8bwRDfUCnXByl30+m++HrXAgl3PbaKLBoVJwdfvVPJfPurOQn6QSgrYtctS7R+WvWFh9q7qrQc8dShLLJCL6eZMb0SUiSBhZ/oBOL1f4HjKQCka4hMaDEJHH4QWZugPdkmeZP2XcS+5n2FG53lxKJ39ON1x3SwGTKZdDvU3jjQbVuDOxD4WggueadUPT8YYXOdovd9LPWlMfIPlMpeTtjDqOcpFYAQ2rW+Myn+QV23v23EFklXwpDalXzbZf4vMQBDQcDQ/NvGCslGfWUxLlqlkcFcgGcw3cO1AOjBNMj510auuC6gshLyBjKIL6l0J6NOX5soE7c/gtKTtiapNdtu2eJwkT8NdSkBqG3z12anpMCz9nFJJSVTcSqjsyQhvXHI9W9OGe79OWlc7tFIySFgdteymHfCzrEjZgXkSmVPIpzwP+132MD9SQtHYBaLLf6RlAFiutql08M5S5MhpEZqMwBnQZv6H88CogA0dUyTdmR/twuP9iwCgfTCOS9nMauu5Ppp3s2BNXm6lX3dbkYW2VwErVa6xLT37QhzhE3NMkPmsbBt2SIEeyjcRztXXkYnFFERVjWvG1ITKm455QAW4KkuWJ8xJzvvHR4gnPASa9UhbnYhkCYUy51CecIsYhmye/ISRnxC8dA0UBs8WAoiKsfVuuM3R6stu7k1ckmCPkqcRCq8Cq1itTRJByBuHRtzCBmA2gkoV/4wymwd/b7nrHADo8PDxIQE2/gg6AbwBprVSaLTQc984MVjbnlz3TN+5GCU9P/djyLn0h886jE8trpOXWABTo8lDzNJ+UST8t8Tp/NgUHbGFSJpQWX2wNieXg10HtHsVPn+ZkLSciHKH5yrnIr5205usOh1EDe1jnvdLNSvhgV8z4Dz6faY+ZdIliY/ENzrCe5lBg1DAfl0pPK4WvCNa7/gkUbrqNR3Vt42w9JmkuPTXNT/I62fYdf1q5YIMNHCrpKKEy/MTWMvTOFQ9EnHPqZprtfUlNq31/9mIHbizfe8DBwnUfPiNXYi+NVmRiSbun0E8XGlnvzX3pNmGqEslwsVc+eowbI8BFuWeGsj7PH34nvAQcheLgVyRyripPQhT7eqPApBNqUpLSKTvbnR0zQRHi4nz/NXsh7dDseemXO7w5djdEkABq3ImtXUjQSwrVWhTbAHyruL/S34Q9npJFozn4io22XSaDEqlMeWp2pNZLforWsoJpSjSYrj2BF12V1ql2MqnSalIXFeG9FwSKLVPMUM4WA3+EhXwXjhWDxf+gu5laskoxLQaqJbdcXkf73S2a/DW0/6i/tQmiAB+zY1fmi7kN0Q1yEuArh6Rjkvr4iVCx4+/Wif/bsfD0dJ3Ulm/yCGm6Gsl91wrttg9uH31SJjDFvAWV/pSi5twFcGAbbCJfTMNy2vLCnEXuw7SQ7vhhmJOfbFYYj6lk2jghMmvi0vYuwH/i5cjUP5IlGLeIn8g+OHGDqhdtSP51r+z1D2OPIQTZcJhpDzHCSFUMi1zzkRho+cMEzqI8xq8HdQTDojMpl9IzXJGWZSCG3YDMxmzP0cM/2ZItUoDWVJa9Up2/RFZ7YgkcDijmR7yrBPkOmqBLQMinw8HO0WR26NadtiLhl2ngVd967vMUUflZS+MSxrBx0/jZlCLDgzPQeMLBRta0eRo5KjaaX1cZKDoNfzzpkn1NRL62g/+M9KnEOk+JqQS+sn/qZJTc/LzxTnGNG2n18WLjWnWJq0dUvFUYAORoje+hutVoq+dyF6fk59j9NpInD1IHyXCyrxQJ3DKXQSurrJVc8tg0RfuoWE2f+zH7Gm4ilmjsECnEEi6HBcUDlzpgdWCjWGqp0sshLLZ8Xdo33OZXIEzOJkM8LCYsf9NvKMYhZCFK7HKZwodVKKDnm+Mm+VOF0rm5rWH5cNGVdxKAIVJRRAiiDhZuBHO+fOqxGOleCpBIBMsaJBgnzF055kMsoVfrgbHxUaac+Pv9G2V0q2llOS4KF+QdOygrhB3qvhYe1qE1T1xUHWETAxScuN50eA4HQfjRJ2kI6gvaI4+THxW3vsWYl+yf1b3P510IttVU0WIW6Q3XBcOE8f25E2Cu4Q5r0DJHG4BJjc7RikllWMpPG827UUMBciWC6IZEMIamGWf1IVWkpYXT8nP20s0kEGOnwVPkv3Ng06iDyCHllUGw7bdJsh5Rctojlc+aVtzBaO0Js9kkFou8Nzap44iUE/YGxah5Ks9O3WII9NIieaWFZqSNSkouVwmtE0X8HLuENTZbbbkzDXgU7eR2MPsUiz0nzIUamaRThpuBgzCiEQStGM1SJJrwGYaql4bN6YKw3z2mXQ3VejvWg7UAgy8sHDF2T8qeaQ/WRUxqeX7yKFmlMtadTnfeby8yReUthUr4j2KSwzEKSAHyOxqK1UgI1RCjERFdFb5cEY0lBBrFeSfm+6aNK4ELa6mBnRFXEHibjapFpG4YDNF4tclTaOhgzozp1THES6duQ4zAj8bfeObO0cOLU9uEvkaUHrs1MIojW5ePcK7+RyZP1h+x+U9UCN8qBUEqCuflFXy5UYUSFleWxt8RHQII6/B+ZPogL1Cfuvq0T1yELXLXxfFDFKbBSZjwh9Logyoy1+J6f1lU2P8LK8epm/7zdOgXbYW+yyDd1C8R0dWmhlLD1goSyjhm8x3Vk4zaouM1pkaM89T3vURDeaocGG7kewMEZOdnRFkLutiKlLUNxL3pyyDuNcTqKZNMssMsYHjfpoFFoDx6uEn137azQxpRTMQB+5Nq75BNfRT2QgUOQ3F7BkmtIUeN0FuZlectTJpf+YNYrzLiELQh/5CsUKJx4DSVQEEnR0wQVqn2Z4uYyIDXYnkzmjWStvYyX7kOx96i4j6AQpovMKBsxjVMdeVvmLZ7HvXKLN2ir8Vb5GqQPrr0eQvasQO4HZiCm1Zj1uN5cTuuBvuBtoxXwM8zb3hI/XHCsOHFtWXOXBKnIxFF9+d/qVZ62hh1peeWZdMON+skCkKb6/j5Awohh8njVq7VrlxMAOx32HyAeagH+tMAyuLzIyjjDBgop21By1s/ed7J/V+UmrMAzms8JCvOZKbNTQu0WRt9Zs5iHsL5nCbRr1iKwXNl4PUQ1O4wDqwZag3zrQJReyCfkSuP2/p6asZylewL+YBGFB6KiHYMWxQfXpw4DI6uQd3jUsOpOFo8O3HNf19BK+cqsXQxfs4zrltwa/5VNgR5H3UO/qCFWG48STSLd+Mn7RyYmnHeoupAM3P6I431YkZRF3PCAw5mwxUTnMQAW8rPunkcBtXnrc7xFZz8UFPqW1mxPU7Bq6CO2OGOgmd88PXYZLQc7vcFQqZY8SEgPKCWQVrTp0GHxJofuxnaIrtN00BEY217lr8VL1x092nOWEpCJDnKeXCOgATj9YPbQlxCtza5txtFHO0rnzoxAUksMRv8IpeQxTUb5y67NAdz6rSjoVN6tILcDdrNtIgLd1XEM/hsaryofebvZGPhS4Iv8KP2N2twfXUEmIU63LQ/kF23lmvBx9TDYDguKP/HoFXYC4ufryQb6tCHlMNtBxXZmy+ODfvbQWD3H8wGpp41wHEFxfxBaIegTupLqHomlegevhq6rVs79vpTnVLQRMHcsuARpF0U0TDifdBiUGFv74UDPjnP/9Bl4ncdw0SJNCkziAAKFQ/aYLhviMplJdbetg259+vXlBw63ZwOxhe3DydthG0IcTradczu7sVcUang/LKBMYf8a1p6u3nYS9v4FFlKIJ7cEqFgMKitDyt6oS12VLrJrGsU/W3LcXqKf4l4/OeE9FJC3tLtlh3QnQTZb8Gpz1ilVMkCP9S4hMSJ6zAtIayW3+6b5h1scWXa7yB8YTXckcwA8l4xKEFNhleyjclbDM2KroGKYavqYXDZppKcyyKQwKMr7fSsQ9q+xwfF9LOPnlKfzQ/8uPn1m/0vZ1BUHQVBJmOgnE00NKPtgcyrDDa3wotBk7ljUb4AIqIFHTsxFlKib+YZObk1Vhxg/3Y3r5vdAgFSz7ltDnGv5hh/P2xIRZcF80FP1ieYaPK7+o+yJTSke8/dYGx1WAUVRvxKH1iUjGalK4TlMxEPS29EXWVGqCLXLksFIck7YJkK697NzbhID3KhUq1WimhRPmK5SLEF1/IHiU49ATXTEHgLqhDnL6mmShascjw9XAcpfeeT4HJ7PG0ohh7jLm7K3JrDVG+VW+Rzf+yRJbRveUDfo1HqJlhttWcl42Or6BOkvuioJ7Nolrv3Hq8CRVMLzRBYm2khOPEYLDsvWGDVSVx7WApENj0y2rHwSh68lL7Y/Eq51ylTVLtKQvHWnVPdueHOXkTCl/GFNJxt61x1zXw7fRq/CWl+FfEWO0Tb26R0yM5iV26vbeE13yys8FaONkHllK0eP7OU9VoJ6MfRA/tZl9MWNnhxhJnDGrBntZ1R6qqVcIhL5dM42GsGNy1lKsBz0n6RwK56QbsQ8lv7ytzXi4oN72tEiPoPjW5Ua+BWq/CpgsyX40HIkRg8/O8qssAD8uVi933BYKFemQ+wZkMeVgJohXSTwZpV9ZySxRqYKUu9No1goQoe8I2nNoMohg6lYkOJykvJFnh6NEDufrZ3xyTyhR4bUqAKhh9yenLoOlW+d4ZEh+FandC+nvKn5gOuWWomzHKE+7yr/+FByulaDPXWFGG4iZt3wVqh+609rZyddFqKPWcIaj2zQAfY6subGF47hCGR1P7OrcsUCHHh+IIj8b9Fq1dTCuYq1iGuiDq/QRaueAEb3BK7FkuIVyl7vlwnfQeTGbjUgUbdqtxARG1thiD7lrOQ7KfGulBWJtil3FDoNWD4XMZW1meKjgtYe9r9ijbR0VAKUdLqvYO9HBOLq5bbvLI7VbxdSPIw2huCsbHxsRE4hrUICI/qPAWvjlXb0/ShsSow0hr2z8r6ogzZOQLOjsRTFCdzOjGiKXwL71jFhCYNmu9hfc8jtWMcEOF1RMYMHwkXlEQF9TDUpq+DE7NI7gOXh+vfFEjsMjYnGEtuTLGLgcTEkWcWWNURgo08bDC9PcwiK1kDe59SojrMC8FoJEGfCSsXOkHvMJ1UZqJkr4WfuedT69LknuiQDeQHnjbVkegRDjC4mALiqm5UITqAQUr9mimx3GqfuEbRpUKEZgjjBJo1uF2mOnTJROyN3SfsI/WMABtcBm+3x7FdkV2fXGnJaYLCKprZIUenVzGkK2g+gMqN6Bu3sVR/lTSZF1bLpWFmF6G40ubmWqwDwKDvknmwRvM0xmgEafmcOCVkdMtwX2TJCT3tscmMA8vLx8T0D6y0+xC5h8zpw5Umc9dwYgymrrADog6UGkznHD1B4cFaUveX03noD1U4YEU4d3RlKRhcfH09TWfZskwpEJgWMwSVn1qEtITOdVTglEgWIQKTo3CHUzfseQ5OBOB4Fr8zcGnHpwXAEsg373fRFyvrA2Sw5XJAf/WSqrBfTVZvxzsNkI4Jb6K4whDsijHm/xsJVlKp3E+dTdHvM1TZ3qVOSlEup4QMe+stxcDqNo5rPfRvoRqfOC4LGYWe6iOhZNbOTeykfPW8286cCefCiyax4gB9cTFGgUhIEbeDPiWfMywNJPc9yd0leeZkZ9JK4dr3QwGq9PYybM2OeRHDOjmEpRHcTDSlM5bB37+TE3iqLP13CCPB76yPmhLooLjS4uB9Oiz40Ad3M7IRWCpWqPCsG+FZzZ1pqtQ/sHpbQl5Pxwp+bBYor8xFdW6Rp/R9SXXfS8JWz0iAHp36FZZVrsf46WUUi9LbEA+xpZPw5WNUi1UboH84lN5G8e5HWP1dszwAe/uwQNH7Zn+NZe3UqymLKY4PVamQtJESbXb92VwSd2hUbCTO9Voj701EYwPNwy6994SB1blkFrPWVG1aqndO3Mn0u3xo0sC08d9zsoqjGK/Cs8xQ8KrOheSultsDPhVQw4l1Kxd6i1y+9/BOXRXh6ZXLJzYzwOpf6+fHYiB8DlyLpnixSZlItpL3VCOqHxIgxNUryX/l9Urj87/9sab8usM+prSF13yVmDjDSukEl+Z25Wkei+u5LCwGRh7gtIdAI7cO+/cKqkOGu8Qzhz29I/rH8k584nPfLggAXxsna/oSmDh8vQTqgARBheV8FWgu2LkeeKuGZ6OiA+EnQdpR4lSDOGhtW9bW5vITmk5MzWq2/E445B30QW6f3m7IXrAo9cGKgDneovIYx95EvUXMhOW1WY4mNVwOB5BNWGLsDwtZ6peldhCpnsZPHX5c8h48yAJh4QYUOOOXLb1028T7Vb0N97ffOVmuAmb8ZidPDj5TJDCM8qTy+mSGISKqmGWorVbDWauRfRmlgUwX/M8mETb6GDVXUsW0gk8JRprf83K5ln5Z89tCr0eM+O69Tos3c8INHCpDbJmBc3BwS3JmR3eUHfEVS+YgCB9MwNvKYLHfOuwTM/3EAFoJ+lZyF0czWofBm57Bppv8FZd0uGo2RNHOfpAlKU/s7BT9tqJ0YJXqPDncbNM4AXvl+ByNy/he431AzKBCOJCir67Inc/tjCpQiA+57RbxD/GB+SG3WK7srAwf8pGo6Tvu937obq3xKo82/vdYXw+BPh5FbCgeoYxR++syWKoDj4YGuPsIK+vdYml4Blu3qavAeWxD8Cyflslda0Plvw7ohqizgBcwtsViPjRc+cyCexVCR4a4AmlniOsIIxyikRQYihKI+HtUksxzpZ7wJ2gF/oOfJlA3y0hWy9XePOTsyflSDryvUrvPVjpiDi9H69jyYY3kydElceRHzzTl1SoAi02oZn1JjzLzBSw0lbTvFtYRLHudAaRSHfr9wqfzptB9K056lygoMRtKscVUKXkD7CeVhv3jWp0E93aHfzoDWAZFNU/XMd4z/ZDcjV6C5e+Z+DRtAVg6zoRTaJ9EszrvdLORjBp8E582gnFqqb1mFn85OrdJ0Ka4+6e4XAs6hQ5F6RfC4rAyDCwbFvkXpliW8dvxqV7VqG3/PVhkzEsIgy8snGCcc9hek4qP/iWceNZOxHdyfYWsWMkLWozFhb1iAhEV3ifWc4r4o0jP2x0c7Oe6eWuqDzYEGBfSYDmFWj8ayCoNzaFLXBwqgR/5dOrBUdl4dtKFHG070INaXXLf7JcjywKMcjl4V0db/+DyomH/+CbQwkNTLLlNHiIh9xoab8+C7xWLOQq+NCiDeXUDWLjLSOLnMXaCkTxr0SQyeaAMk+AVrDptFCMEiVnfUSFJJiLytJNH2+mJbTb+TMvWivk2VrrfcL+XtTKhwMDlE7h/ir88m3+WzVS3azYWC86APg17OQUj1xbsY8RJwBsjFuONcZ6VzH7H9Wc1qw2flEo/bX0MUHWDxVwwfZbXMlIAxRx7HjSO4BIck6qNZ9mfDEdFk3fyQ5Uy2aRAtmZIt94po6X/6ShT2QgaO8536AnUUJGvz97bLFKwOoXvnsStNPTdflW3GpJkCKgO4sbs553T1MJd3qsPMSJFkZ4yub5I1aOAEd+tUGV+3UNL+wMgOTb/b4ZAjQSu9BE78aQ7FwdZmmwFj2tyGAD8MgHw0B1aqkpEoeSP9a1mYnJem3JjM2fCsuNhuH0PXB3yYkH/SSVlgIPKSPPTyNTqXBYZgn+gSJzS47us5MIjj4DseR3YotzeP/GWuUCYprLzEAsZFmbPo4VmkbOQnS57VGvIBG2m4d+g1ibH6MVVkOdcZVFx0v8ykEnYcrgGvD/k0Ivtz90qiq6RuBXI569kAtaY8EdKGPfCC03Dv5+sK3B2ethzaAakWhX5f2AvUbCNiahOv1XI5Gkgg3IAJHtvaiTTdIcTWDAwu/7eNNLJKHB8TOwHUL4fc7bAZFL0NucGuKmfWgu63+IxgDkTuyjry+NZm3bnxqD2bx0+lL5VCzMZLgscit05Q7OSB7CsJaIHfBZTHd7J5zP8Z+8SOY2hsI88Zvq4HL1twZMZUo+10H8XnZfgx6+HdnAkL10NE8ETny2V6gpIFRC8ENq6TqlyK6wcE7TE6pVgeEqSJ7gT2nmw6GQDuD6TAlWmmtxuFGLQfOaU8Dp1k+wMKj7xZFgiR8o+jVQoJaVQF6y8HquUxd4KEpfhOG1iu22PUfMflhMxWceX4u8u0GmEp9zJNUzguLegfCwNx6fxFdK3DQPEndb3Ygg0ev/FKhNCkdE0cazHq1AVkNO/YeoU5gN5ReQOCRCm42afBRZRCNkb6ODaWZmWQacoI5n/p8XvcpdKwKYhKE3BmU2/0kCLtd1sLOjVSOWFeshGoGvPFBxPGXLghEq8AFM2oLkQqbGRl22TzDL0+EKrDVEyXrM/8Wb6xXn+X7vHvQ2cLSuLVszoaN1Q0DbzX6Gu/icUfnS4R4Ab2cCuh8i/5Q2e0P7E41lSTjmRriTC2FICQnq7iBAptMB7MafOIRR8cJIrFyv4UCOUUoXfQgwlCMZT75EAa8NVnN4WP9j3fg1RP4WULcEkUlp68Ne9YjObdt7qUbPa4kUyGe10l3hRBA/TzB2xKI2iHy52LLgkBfgiinXtJUMX4Q49qgJQItut/y7ohYGeHjjrUUTchzfUaI8MB8ZeAuLBHcGwg5QHJj3D+W53TUTfWtQJbkZniQTNGrc//FM0R8olLnMdrIB/0t55QvOIwpj1FThhJSmvVwjZnMHT2gaVTQOaT2J2Fv1lsVeB+0zrHJ8c/nkWhC51OtP2V9CDnknTo+xY6lY3whQNSFtWxv8g99fbF1BFe79e1DDfOrR+gRSPx1Sdr7P/yffLoaOGDTAzqBAJUe5kCF/XWUImqF0Dld8Sw6dSD8uN5LQ3QVGLvssJdEN1ClCsXnSfIxE027boIxTjNyXDuSEeNj5AWgbwgVa0FdwPFdUlYWgtJ82F+BmPjcHP2rYoIT9bDPuzRucloPPKj/A0yT2VRlUXxpCK3u0sPEGlNLWYo/P8f22b+scg2pX1fvccYQQ6wsjB+cIlaEbUIQd3gAb0mEcxTc8wQt1/Ar9vTdntseECdYPDksCiS0v6xj5tjySn3fzmHJ70/Guz0GMXmUrHxXEDMCdPGNgglCLcZJqyFsUAYLuCXaeyiAfPDYuaATMdhsqE/3NcBeFQQr055eV9zKUWZ4Svei79L0iMPQbbZHr+C+3WK42MVWSEqtLXtT2ygR6wIhFeamMSLM6Zn18NcjR7M24vCLLU844+gGIjGhlps5F+kryci16Rhn5QopUx+llfKBcojAOas1BgPWORKUCRKqpDPQ93agf2RRHxVrT+8Rpvvo8JM/yjjYMg4QeR4sTbMIarcTVZ1uac5F2AMEBsnO+UPQ51CoUsHHPwYgnBmhoymc5EoLkxScabngALCnGlz+oCVXrc1BWnyDc9aRIt42OLWpkecppJLDMRFJDzabcbgVv6dj+sfaLd8NW2jg4qNfHg9NL6D4wUkpxPyQU5TSbmHpgosxYOy7shU+Q7tQPsSIZeM8GoQuPHVuUqFSLZOW8ZEA5FULgpD5Z171YTuzFj2Rs7Js04Y2JgH1reac81dcw5u1sA+dl/I5g0GC5vfJXm/lN2p7BKYvnoZkuoEb9O20plWtjU2JcJfdpmbxTKyuQalqryVCkyNJeNszV51Btl+ZjFYrErpRtEhSbrxr2omOFeOHhXeC5sFHvezsHicSxdYB5CBpALJDQvQZ5LTvRKWq+AmQ5Su6V9CqhBjJr6yQSucKfLP2XptRhTbTZXj/Hu7dd4eMgl8dghN8IgUh3PXmN/ANZO7AWHAYQpCVF89iY0oAyLHQafMgQ1C9CPVv7aENtEN5r0qLWP8T+TEOGolgPCJdzWNiV95nYqX0886bbkKPGuFr9KonlSfhA3T8gHPK1T0/oUPqjszAM08ytks5iPRK9CbaKNdK1km1TjKerabGi6wU3Y/bE51+USGRrLfhLAH+BxwEVVj+Qw1VthCL6GS2uiUwn/bSEyykVpHnAsFdaAlfqhikmDXfFFf+gCCE8/Z/q/okwHZFcx32kem2JQ4z1Ecn6w104HnAt2QK07SAx50Ky0/61huvtWMtPm67fgsnHZ/seX1zeOGy9bd2EtsAvmMB4YVTKntSX6qtUYVeVFKhkqcHLce+9MDRDXbJh8MuuSf7eePc60svgeRhhI32ECHtXcD1tTXmGWpYprWMNgxQWOa5S7jBxpNiNnjw7Vf59q7WbvvtJfG8G+7ITtCbtbILGnVHb1wHuQDaF8g6wLE9wE4EzBvLSmUz8DxLG+7Pp6VY24SRH4iM2igXkcGGbvHmkGbSZevbA6BbvdGlEHjaMY2+2nYg1D4ATP3wnzf72lz0/64S9kyuTzmOvEXTOp4E2dJR5YPxJ//5UeyNtOvRYu7aemK3ygjJmO5+PjpoRDs+Rzk+oX2k4h6qPJ1K+IQgUAPBdNjZIeHg4I0VWq9JAw0zgkjDpFOcCmyRljNTqMF4iRZjUAohYr3hft1W05XuE5WURwzhywYOuZ/Ebj4vvUvyX7QmZ1/GaBXF/7cABrtv74eNFN9DyvvivzbeXYOx8PqE6XD87w8pzHlIcjWNXewGNmln8oCGKme1uB/aGpaXnFVEqCS80qPaN5yTA8iOA4DBKNogjeau4EB1MNiTJx5oxfl8Ku/o8kF/CQRNPXLdRIDVgKZ/6e7eJIZdcHBibhpn5bUyHTW/63OP6PaSOJZdHO8LySkdzZcYecnNC0mWa1N80/UZpYQKX3NIfvPnlysoqcfyl6oZaTyrKavfbY5epIMAGSIB62+zFGDG56oeiYBh87mEkzj+8OqxnbjI+AOe8VdjwJp5l9Yp1KhE1k7UiJhWrTW3yA2vGi+ChbNB9S0PanOGoWwy/m49Mek+PSelN0dIwnJRvjhp3gLw1RHMjgYjsdWGCUjYzU10FMOd9lFnHXCmPgGBAA4DxFDyyXpsb0o2OxLVMXlMiLvRbZV4ob1od/H6S+/KmGVLOQb2MYD711M87HaiOqdqdHqptpwX+US57DhmO3mD0fLkJOYHkbCPkNoNbsuWA34nU92BPNEXzqF8r0VoHSJuV+AtRBPZGlDDrjKDB3Sgu1O/AA4P0DOvcrOUfp0PYnWCUMgS3RGAeGm/q50DSvbgLukd6ZHFBhSBT9VgpdIbCuebCaBi+FNM7ippxn/yKPD88mhOeYhHntHqmk7YOuoYyGq0ZjzrY/J6Z5AEavS30GJqaRknXLbDPQv0UfF6Dok5Gb7qfuCdApf3BBzzYyi4DEH49q0oO7iC8rnhbbvP45R3DaNUowedNBeANeR5L/SAJ48NJOeIlh6d+3FOoF4XGTGZCYCURPvfF6wL85Jp5+hK2ilG1t1DIJIGFImCZco+XgONPzFlz0nsetOcOH8QzFu87WW3mkq9ufHNT1WA6ButozMv0wagkd3DSGmubA82PhcwlSyE+jBf6T4YtIhm5pp63f7c6D/fjabxBEA+nvZsitkjDB9SrNuNlBjqjQT9IuFzYTGcc1PNOxE/ytlgsiyCoBxRWXYHaO60RXCteywMPYc0uXomnjlEMeDYNa39K+V2do9r5D2j8lg+sH1MGFDudfwWlS0sd/M0ghCaDSL0rGpNDbv2ehxAYMudor+cF73FQgQfQHTlpFXRp8TxXvPBhzZ+wrb/46Jsz6FQkBewHr2TTN35FXsQAtRiyxZUK4DYhIACvysuGupDOfNJbbB/UU84uOAxkwKkhcLxtzSOoldtSD33zt7qrLu6sR8YpuVcjdb8HOBbslmeFoW2yXC9gYVlo1jLnyNJIacq0UFvSyALh4oz2deBDM0T5w/3aGqNHL8wVf9k/ZhXJy0rkxNbh3IJEKzh3IUgfjiNP5zDrop5gso9GfN0+YxhayC9Cs38ggntLu1kxM+npIs6lvivvW0WeUHjLan5RUWH80UJiW5xBx0IIHSTEuCmUX1RJd3FUliVtLeL6ShHh3agIUS8o/r2WBHZq0WLrS2/BqGFiFcyzljWQQlivPExn/D63ssKQdoedNyH20tWFsoGT23qTWhEaDRNLY1dWGdl4BYBZg0whwZZhYgOcJuMHmQJTeUCk0kdGxbLvA5eHLNGubFq/n1inaAV0Swuxn9zOyy8jyT/L96aNj0z9wNQb4MKy2zH56yNhK0vFitcCjpFUBnPIYUYRXp4pd6igsTiCtXkumgV9lDUx5yvCD+rlvrnYHIkhBjTYEmeYLNfp1AKZDG3RXcWVMny/OiaGmQIwuxmp0ZlJCH/QG/OWRpFDksC2zLNTxhaFtQ6YxEXva4ct6OntFupzV53oKu+K6+7mxdnWw/NgXh2Uepu//J4SOBNe6pRZzT1RGvH7DT4NlrV0//6E7YlU2VyOlqfKtC1oDcjuIFTsBboNsD7G2EH3bBav2wuzFgZ/69BPTtHqo+lA+dUjOYrsCFAhc6tbRZFG9i3hxy/fQMPOFecg4VoR4aQoLrgufNk0shRowqI9QODELvb5UBjpog9uSMjJh6Bro+uagIgXT8qCd2RULhj1onQpvIiwgOumEJ17MnxQ3pFlpvB6got6ylMZi4C5l7etJdODAvgOo7CUBzTuuqIqM47gRCrKE7r04WnAbQ2vJMO7Ou5vZstfubnIvsjczLzNRpTL9z0AM+UsDhAIeJZYgtCH+8Ao9nB6QhFcQ85l9VZtQasZnZGp6ZMFRd2d92Dr3xxHWTELUBwemZGjSkUQOYfc7/r674JHiUeKyRJlvDwhmdi0S5gt3q0AfXjkuG+/ui76Ogfjn5Vg+3aO3ksE2VgB1nszjMX2shz04YPInB7sNgPjinh6z45X4BMEBjnn64MkB7V4sCP+aw412aS0+SbiQM9zdoJoeADah/f4v7+/e7ut0cSSrbATEhnkxxyhsz7yYevJnsJN94fHaYKa5LhkI/SrayYz2oDeGnZmROCH6d/Va3RcDwydNSi2giQJ/JmiLtOv6IXWPL7nb1q2BmtcGjkJHPDQbLmjTuHJyy2REllEl7OYiEGGqUT/pdX7WIW9R1E1gJYWFhedeJmGGJbbl7fXnu2e2vvmNbhlvthH6fm0uZ48lgUMp9i4IVMUzz1fpMFzy2lHAyaJNVAv8GTcYoIYhjT1z4FZyRL37Blb7g9eBiloKL+5pAVFB3wjYaRPif3JqPwnVomwDEdljC4Cls3shIE0n27/YYKY8xXPm0yNNz/ZkTVu562yVZZhW0xKryftbFNkXzzTx94pESOFBbI4V4xnvDKsY+Ds3Sn+j89Ug5FRKUjweFpMCv2mtLhPSr80+XaX6jhjGN3hy/pzal3VleBqj4VU6MKgVr8XNsuisoHs2LSpCqp9GW0Dm9w/zJ19oUaTsgePRe3Whso8KU43wQH1O2ZDSaPwI0FgF6WwpFofcAuTACMg2+Jy5Fp0NgQ0HofjehvDULayWgAqjz5XaFrFzcwuEb1M/JNEYhdpxf6YrVyh/Bq703izZ8WfrQ+4pIAPzNrpwL53y6YXe+IRFENMrPfJgfvaSVVt4JVxoU9zGuEFkP4l5FQt/HWv2fXBaVpMHB1WWO4wUyDHK6P27Wpphpc6BodPNjAb+eW9/KihbpoFsxPGtf/M+Adt2LKFB5sqoh9Fvrg9JwnwObyTO/4/cs7q+NLKD74gGcBXgqo5B9gnKDwiy74Ph5i1mBVNGeG/B73jFFECSWAlBLC0q5LRgvd9bPvluBivhzbPnpoGKKlJHqrp8VI9PRdE6GTB8Aq5f0HNJlFI1mwM4eQBkIrx1Mm0EiAPKZyWClwKPX0ljmFDAzKvly65DizljMv9GQgS7WShgbdTABlS19BiUI0kGIhhrdutKqXu86vARLPop6YPOLwBhqih4HT+SZd1Yk3J+mpYVYM4WK25ae0BBcO9nytNI5a/pvq1FHz9GeC67ftRWQcRSbE8CvKt7PAMYG9HywfjvaFMRwTmRyXGL+J4jUkjn0XTY262x4liL6UU7OyQwj91vQbkhbjYV9Gwz0KU/uRasEB4wkK7ds5tiqM1wcn4B4EvPFPnRV+6Lw01EjmVPd++fcv5gtFX7klE1ZoQccxSm5hinMCylNsk2PfJFmIWt0GghcxKKD8mAII/pWcURw8OKZ+j90n8U6OrAWWuXsBS3U1ItLNtk06O/EC+PDY8xmVl3SkgaEjxunCigxBWnCM1vCNENb/I2ZWSHSiRyyz0cMu1VkW4/Q9NTad+geGpK60RNlLOkDIIlbOeBjeimiZ9vN0+kfNWvVbnldnKk3A32MLXWFQn0BOkTBVMQf0Q83LkQM82xJwFYUqLz95Q8hVAmW4b4Z8/uoYUPOfBLLNFJrAdlMqu9PS1tVwxlDgtcgD7wl8u4i8MDZnY31PY2S2xuNkV/2hJOvVxCwNhdO+hA3UJgNl9fccKPCC8WhCwhzfCiIh4r5dtDVaTUxKYFwihCGNLl2uHd/VWGqvPom5xSw5vvG3Pe+q8tzT9Y46OchglPbpPsQzpaGQtjMPZk1+o2rOVAZVGdRYScLMxZ3fIw7da/bIAngRAj0v3OIg91UiydPnKQE5xH3JQcqsag6ilt+2nX735DOFBqzakqWsFt1x2wEo3SOAk0ykAM9urCUklwHc/8HtNWArzfgK8tRyS5VDUY0fzTBzRLtG7m1wDPrs+rmKnKT5cUdoBCRQI50+KTr6uFZmZh+o3nUl1PBogE0mVHw1oOne9nz3r7ir9IUiZMNg5J5kgS87dzDwRVar0v326L8acS9AX7aaSRp7DTUEczn10EQjZrga9zgNr56h4u4U6pY/szbj1wmOyGpVqvR3PiHQCHKzU99fbWZIwzNk1CUD/w8NAOR8dU4kDPWKbboxnDcEPII4DYQ/4H+vq5uVQ63iYqkovPAXK7ibnyemD2h+T60dGyiIZONksjYrKzH5GTLgo/m/Sx+KLpYpBoRr1zP8ulWk/2JKaZUjWQ7CLTCcZnAZ3keRXYWBbeuI8Vh17xw+LYUqh6pmTFonFcK+zD75B00ypQqmzvg28Sony4jK1vldxdruv5kFOahBCxthetcJGTZZIgn8pEzc7GUG2ywZY3Xd4r0J5C5c97ilhn+PIHKG6tv95Fh58pIrULwJSbxMiYPWqZJoLvp74Qbn6bEFSSwC2AnYcDp2uWHb9VMmWCE5Df2HvUYWsTFYKtgBRTCERZcju/IMPs5nLnOE34QHQHoZieBZh05o8RSzfXtmwcmpwZ3Jwgc/7J2O0xUY0L41szaWdVvyZ+aznr+rW0zJbaD9/u20KP6RRJc2mopUhmBjdaoAFgS9D8Xrbb68equjRp+veILTz7p+/r1aFck+Qv50aJI1X6eaSuQ9vwX+inab+mGjV+newtf+qpa/P5Asi6RsqDU20iSfuXzyniqLiuTWnpuN4OKTnQAd7/uwCZbYtzBwyZc2oNkqqVNJStksHh5Jy8YHS5HmCw+loJ6iOjRgWmGVi6DyMDO+QCDcrLViUdhHYuJ3kmhdSl8anPP9V8pN4yymMApZATykqcdWZPdBSswv38WOhwWg8IpwAuYPZTYTQJBYksD46WP4YRATalWL5C8V2sdDe9oWnwlrxBz1NjvR+E28oa8LgN0sQ2gKpBp/B7KyHw0u04svVBYTmijNDrrYzuKsSHtMkJkja/ELSY4t/Y5TYIgCqYt03T5+r5lHhdkrDioWN9Atk0v0tIAey7ZgrhiFRK7vDd6RYebvB/ClG5hVO2U8BJWscwFyRifsngaHtLk0mBzIaLkG759oFSYjDcQq9J60wzv24OmJFEOZhDcGDnKxHGrUcZKrBTjv/uZ8f+RKmwNcpc5YBskvdwyVs/lkHfmbt681s6Ln9zsHmWCKvF9Nvdc0nA0+u3+COXXxDPJzv1UEHPqjR3HnZykap8now6qb3za2iNJguU2ZyCOzGoERdAZbOLSbNRR3QeqpPqeS1uxpBgpYnHLvZZzhKiV/PZVD0AiDyG1hf41xZiPT1TSTT4hjo04vqwAfQ3d87seume4KzGm6gIi/KGiOR8b02oYL/P67Oz7Qlj6p3sqejdOaCqLQigTvVnNVdrEydMaDXkNlFoMN1329Z739BsEDDnLAbzvTKK3g+eqF7fUCDetTas0osvzdTYdE92zRZpwLCUeoKpz2t7m3TnaxSECS6nMQxMn3u04jolVQ186NGcjAK+US+8a5jKGKHdmgXXT4HYX5ANsqcX+jxdFDvwwHJQwGr5DU4MHJFyyWp7O8Z/O86UoQyfORbN/NuLrZaKNoKarHI1ofjKtQ41ECGtw2TWr51tSHYuynipan8C/iuu9njEILGLGZ2c2GTub+caYyGNF7QTSxAIaeFI8WMdJWBE2wd/2VRyIrXU54VBAqX9G264PYU0F3i3BGNDlguKBZ6shmleobEstYBtH9MAHevCFjIb/lRmsQQz7eTBd9MC0XWOowtEd1FtLWdibRHUPr5sriuvf7hyIhDgbIonvqiuO8GulY43JM1iLyvjKjR1KjD8ICJJqeHV9NfqQrMrsD+1vaQxzGGFbr432L0qVkLRYp/86ullcj5wW56UEHRk//IQNYuJXRll8m/U2oDCh523W6dk3/sjuEHBS/5Bp6O9MAM7rH4anQjDfgKMAtcVGInV3kriWOoTMrzt4Vp7Mc2BxKMK2PIQl3/wh1zxsvOTi+jHOrBBwtFQsUoLN7AxEtLVWcR+uX+hAEUkC6bR49HnJJS6D64ISN0KYoeR3SXWan56ZmaWxQpm6OoKka3fWsp/aRIZUZ+UOf3mK7sEusOqiuZO1oKE597CxrhgQxuD/QIVzQxQr7jpQHvTIBWd5DvjIdbeufZieYPlKfVsvWRqKinnUt/uzVwNPsiByialWaf2BjkwjOjzxb78R/x+ZY8jOSV6B2EjEHhVxQu1QYmZIN7Tdoxtql/j4DU8MKQKm4ezmKlf3nCmpNgro4pLMB9V+Kf3D1s6+Y2QfK7qOR5VwNUnz9rw12hfNoPYUZrxVlL6IGes1HN3kYrLMkuYj9AD8UEO/6soqYZVwKPF97L6v7mCSyox7hYcZlnhvGO2R8EGHMl21DoZhK/hlA9PHILj8kFf7a3hMjaO+vf+qxmr3oJbsyUvnDUsQrFyrpZ6rLTXJE7UmqryBQDVdgzpi2q3ROtYHpG5EcgxMVCKGnn13Rkd0RLwTkISBh3vHq67pUY+DGYO8pBGlbGb+U3Gwdvkyi7wjW+up8qs3wDi6/nE9KT4Co4JeV91vNPxXh8tA39iTMp61S7qNNOlf4zrzuMQrtphgF0DtmHQ2K+wji2TmgvhqGtfjJ1vumINfntbjrFdQoVHohU4pTxR+G1vkQDafQxmE/c3YRiSRMg118KLoQBL/OBT51FhPEXY05lJdY6w/+c3rTCsMOPdtgLUjOHaKxAWhcXEJJU1Lb6lPZDvLbfd5OrrNvhupLH7BYvCLmRnZfrGFsuy5v5j9G5HCiAT5gmPSt1w3kIoH8DKSh9yoWQX3rWaqAShAsN93G6cEsXxEPtbUQJ/IcGO29Sl+m2mKBT+7eHv9CPxK3ekb7DZ8u0sWQfZv1PggMQlnVIfvMzuOgkP9S6g6aGUChNGY2S4MGCsQkMC6yXkkOSM0ame0bwCYevHZluxfEIp8b7iDkMHO5jiYns9VxfavY3EewmlL6QDxac0OjmAXz1jmUaJq4lTy/EifhYtIUfupugnhnqY146ItpiiUbcw8FAl72HJcOdq+kgzpnbzSiyB48KL8ZZ5b91geEcKr/KX8eYzpkxhaUyvXjue3O/KNls//2QhnIqD69rUoftTKL8BETGzSfSa3Pd3zVXnc4KoIo/w7GptYdtfJ3NYzj8OTUTfxPF364sGvUGjLeLnGln2q1YhTXn6e0Y2drgLLA6DgPnjsu8X7/wu1HCujVOVj2Jpw+txebMfnLDxufGGS4xInsmxQ3NGvWPyDqkWf7TE8n04T9VWyh18eq4fDPOcsNXbctc8AUcxu1TjqRvVVHcY9MGnS9sQQtooGHrEn7SdzOCV0wocIwfjwk+OFPfv/HZVvueD8GNVqY3y82MzXjcBcU22j+czBRu6uW5EDXUW8JQb1ahyH3R3ar0+PrRA7MNxZdqHctGglpnPCZD41x6y7GxNc8/FSaw4uc2qtJjKf+eAdmsWfDqEp74I1vb2HFXnD2X2vbuEbTrLPF2d10MSzFVkc6wHMA/KOveziUR7sL/4kkOspVVpjcV12/04ChcS/S6CPd3nRqSsUmK+2inr+8aUBiKl80wOTo9pCcdDsHTjr1+Wsg2A+lU5SDIGk2maJhS0DO7SvaeIGQz2UCpUDU+Fn68CPth4OHAauhlLIXLNJDQuQ4yG6Hw8i6kQ+GVtbG2ycXZ279x//hyYkEFaOSsMFTq224owqDQzXXjTx3FCU3gyKVhqGpHUBZJ3bXbE8/BJnXqiISwn0DxGg07/tM6Bkzyh4+Voguiv8DbhNY56sRrsHXFN7NQ6sELRxdtXKwWtbaq3mpkeOQ0IDej2+WRFbiEfdJFKcbU0qMZRjyzbt5fn29U20PvJBux3QWo2zJ2ddZ8zvP/wqKvNA5DfMjT7WfoSWlNA3gmhyqkqS+hVKenb2oK5HXaoR3YMABwSHrrcCx8LE0z31WsmNzCDvE6qkIa/2ZpR4p7U5uesVNSDl7pX60zmXq7K6vGFbE7zVRqh1+6myGVVNfB3w2l/9O3oH6gInDqgrRBZfRfZdSb8/cZHSjTqxh+zeB96uDzYGE7pVz5HegA0nTV7yygIcOr/ItYOptPpcP2MfQ4WNp8B1y/aCbs5GR0p+ObWRhVGEvHVwulIPY6zI8OaRmYjAB9nXD4Y4pjuyT5fPulczT6AixEOSImiItHfqwbzjelX8IQBL1n3FSi/1klFnBuC28ct++UOGJRLFb4KtG2v6oUguhHZ8eADB9oQWFNWtQXH7+hj9CZ7mX1+zeai2C2sT5GOLJDRXf1UiD29kmoN+3ba7t2tiySFO5efJUThcuFaYKNGriKpgTmmo8OnsAtV4c+jJLiPZHxuxpI2od7eUkWG81lIwvIXtzqFAyoiC8yQ39sUtYIs0YjyO69PDeSQz+wwwqN4rUkF7KGIw6t9peE5aADEB4GzP69kcOa0V49YKmmlBt+0HIK2CLb6EGCQD8CBsyXjoKnxt1lKWzpdke1p8vcKf45AzDHsQ2MIj9yIZf5aVCBxKqs9G92gtuYsAi068y2+6n1PfkDH0PP1WYUtx/EYvkow2dDjQeOhjXTjZUl1CQlqENea7mCf1rAxlqL0rn+LNXBm1Fh+6/rfRir+hMtKUK3Ocs0VrQGorZpkdR6Wv430tCP7c1uCrMWTgWPtXdrbPQWs9kAcdqRudSqPZV+/5uayAyIFhdCwfc7P81U0aTTEhO37RFCjkbFO4xPVgFUcPZ99X6x6Ftuz9g6bzDweZ9Ngp3zSrrViMWnsvm512dculbev3c3XJd8OUI6KWY1Jtaulnvee0OP+EkMJgkm3nqwRaIRRlRBP1Z0/fYF5MlVOgjHx7TN7PWWFyCc7B6qtIy/RvXS6xV8n1nzfDjqn5MVNhhXGwKfWdEisD+5iSgA/GeUqFZnWZmfYbkTUZOdRxJj5PpZqaAJiE9clIWtZr5zLz4nesJI6urCK6hC6lvHmZnxbD2354okF7o+FV3qD4sZZ0NHOSaoCeO9wDb2Lu15NTZy00nl7lj46aC0a5iC7NgbLMeZUTwIgqTc1/rjJSqM3mRnSs4UjiIGwDlgc1WZ+raFE/0cGX7DRXjVPdpPWXIg3FO+TSsQpyGNsFwvAs3NJru8HhXu5pS1JSzhjsZ/IjfowLk6i6heakIsgcUm92AMU1WlqhuSu+7B4WiR7sGA9IZ8yxl3UV9DuQo1mOQ0nZ/NX/cIvheMbVWoUGgvYOrHnmeAyHJQln+GEmb7cp8/e0OxKdWPTYwsuf4HL1GbpUiohuPCRxbRC6aKC00G2NodLMHi+MgxgUiDPcPgqx/oC7bL5VeRwOsm0w8sIyUOGSQTrA7/AUk2D3RnciBKJmKy5CA9dSHWthK4mk2bXWDzxaQJYgpXMezRQSgNsf7CYgGQcbxqkyeDO4VrkRO42OxsitMrP7YYtJnhUXQdvB25i07eNLzF3MJZ4jgfwflHyVJenIKqa6hjFMY/hQTo1MrL/rQaNefhRpvn26zIHhD2uh/lKfWGQfDpJbwsPSfzu7hsWYU0S9u0xSPvnSSGbDl2wnKal+pWgRMTRm79jixdlRhKaC6O9NCxt2guc5iXyhM0CsD6o2kKxkZ8sFo72rF/oRMU/colCIvEgnun1rjJo11YBYuwA9hj5I3CDYAIfYhu5CEnYcJj6cpfrNuXNW5zryZP2FWsGYObTac7iDDd44LwuxFRnDeOdwy0qVzg8AMjmsABmkK00D95UVil4LgOJZ1pfCePg9bu1yYQmbGaFu8TA4R8G1et30q21Ys+aezqJbh2I4HCMDR20dxVqlzNvi1rII/Wtq+t1ni6nJoelusVEmiZSLFpct/UlgqM7XULZEf/dmh4wMpR664rcikMDeGJxVuyVlGvBdkFn/wHi9mvG9/xJQ3Gv4AxQNQtnIHnl3XjzYMFHoyNURDgHJmaUa6jqLLxz+m9xi6OPKZh7Csu6BPLIRq0/5R3SxZTwp9BGhlbhgQzs/Iz/mbBuU6MJ4lhIBJhrO6QmKxlgbM8UtOzZaVefXEryXne5Wmr0rVyHN2BKPIfF3ifup+vLflHZgaNK9C/kp54Z8LkKjyfFhr4q/+wyhUhzHGhm0sdXG7YD/bz5x2152YPBZqGE6GB6R8mTENGgRzM38703HtcBUAPWDKjFUc23SHXtUg4DNPUFbT5qgZk9z40NFjrM56O6H2pf6aB9zW+hrnVB5iwYzevQuvld28tv9Bujo4mzQ3KtK1W+wJwPhWpePgXAY+eQ5ZWDs8WMv/qJnTVmpdnIrwNn1QEkLMCWhGDydi2Eo8sPhVFssDiFKcwRGgTuflmoJ9vPxiqT6u6P5RLfyS0gX6tURY3pB0Szkl7nVMPU4rjMHlZJkzX4WEHgIT3VPHkxaaZBZLGxdA/XduoRTSDmQi3OEyzh+jkPkoZh5G2/fbxlgwiTkK8hiAVqiHYuyfyDxdiPta27YUS2YrZlY+kp9ttlKnYcJcA+7LKPrx6MSRRhEvS86TsOEx1m0EaRbAtbRfeUNq19k6n7mUxafdpVark5fc8GS7ygLahipWcPey8263KBhuLoiT9payPxh+hnGxkkFL0wRInljzYlnPAI/3oG46iqpG33v4IecSQUtszuuntw6LiU46G/KWt8wSoZAVcss/lSUf0W8p9cEP+h4DLfo3b40tV31rvlQtsPeULZftcWbf75az89Rb++qqvuErUBCPjc642AYK+8XwU/duNdOdo4xnakJAFp5M8o5vIfg1+/+c0ChiI9gDIA5RLwXejOgfobqbe+virW5KYSOdae9lpxQWrBLdVQjnXPFisRbOAn5D6sgyzttYShGV2M1nj+tQB0g33uJbODe4dTZGUKiKHS7q3qyow9vD0/laH0Nadsbq9GbASizsQPN1Zv5HFbPq1SrB71SUy0PuLZN4kBSTTzPlDt2WOT+75yrWC7cKZQ4z686GrloMpL+/DlZpN/bJmdyu+e5jVZ4DRLT+JTRhrafY/9f5HePSJyWfkaLfQuaKSg4+Hwzp3y/rzsy8hs5nvY7qsMHhGhs2SbvNYUI5Iz7MGCUG5zAp0H/u+jUNJGVR5sROqybe8Vmd6zkOsLqXVlZ1A2wZn9EZIaVs26ERAA5NqEv2kqqfsCT73h5dgZpDeN5h3njYDO6Tg2mDZ9C5uflHG6G7VT5fh5Emq8GABO9CAfAWr6O9VGw71bKJk+CIj7B+k/PNwr63FvHtp0FvpXO8BuvVRM6rKEAcHkNPviNksRRDAQD14rTRk5tBZmME1Rfkz0O7txcBVwGLnU0/LOZrBC3+3Ym/UQ7J6BdPQrFSyRucsozd1R4VUaxyyowSRzma+jgGAOO1nU14oyOI+pN2wavr0fkYxR5/7L5MFStMOzUyF8iJnX+jS1jQ1702b9XktJmndDyXUrJOaKXmK9yAhRmtO5Mzx/X0sBcqb0prAbJ/UPJUnL+x1REouv3dsblPTrAXZoKbVUu7YMSMJr0Bmzb6iKQiQHtqXrLIbddqHyEIPoFS85k2RTF02fAsS9+g5Z+OBT2vdwFpaOJ5DB0G7j1ZYJNV+expGRChPlMJoBGmTYsTjNDuD0avOXbyJ2+1+YVmBYmaMJ6w7ekUoMeqgoXTDD1uJBfzLkVN0TMvWdSCwWpTuAPW5EYnSTPwAKR92sWX7T9JUCX0ybmnNBFV592iUdMFLwMBlL0hW5C9o99qg3uJCPgYMM+mcjL5O8B9tsrfb52oeh3lNxKe2HbORBSX8aTL2FOR1LzJRyPgi31iOee/+LwQvheno1FGwTHCGevnWLXnfMKiCpatOWNiyiS1xaf713IdwqnO+G8rVujzTnZ0YhfC6fXEHDDF1iavc28DZNzAGsbYMy1R/IDO93PuM1T0KgG6/+MMmq0dnx7xtboWeuz+9yRMMnoqSZ5KIg7iQtG1LhHQf6g5nFZVZLijihftfn0LP325iP+UBb2fqQ1JD40Tn4GHGiv/ZzvJeGFBX7v0EqmmxDNFeI+7Djkzr+hpQPrnNxrhSsNGwudaA1PZSrAAehRObZ8oGmbnVa4USLE5DI1rLu5IwEfO4rt4PGJM+QqlVbdNTuGdHHHViWrKIIZPlgDEWe6eTp/HH4tdS4CQlBg6VefGnn/TmZ32eF7wcRSUz5WWCouA3db+CSeK4tOa8YDi2ek+Udwb0paXv6/qSgxHkDMeActxKMuPNHgJY0vIGdO3NrFZ02prsRHhgULswUy662qVqubGUFmwxkPygu2U0Yva0gKtC1KmK1F5aihA3XA8DM1aIKxLcjVLWeD0vksupKKrwacsN3EE+Ra/xfDFRmhZyyNDf2KYlIfkMF5frzHxCGVnPrhZlvm1o8PabuCltQbn9CchPZPvT6VMRZJofuACIsip9J394qRHH7GuPLN6E3CuGVJIKOozsq5cOytLY8v0jXaE14tY4k0bkPBNMLdwGGtgdnMHsmk9DyH0xK7Vtxbmg8yeC2ntvsxcJMSl8U5DTGZX2IIJy3k7Prxc4bwqmyyRwYV0IHr1VGywc9r82NAAPwUYPqgX/Iecjk8lPKX7N2/xrGZvbz2o47xMRqfzZT0yWTxDEtatZHwZRHfbY4OzH3Z6lLuiGZT/eRb07kbd+7C0txHlsPO3A9/1TUJoLKrDzjJQ8aQaSErBbamBX8w3ukSSv2E0uDaMxV2NFF3NyNWyyZDZ2au4lse8nPFKWUBG/SX6ToRm1tUhdDAAoAdrRMtcd6JKfFUiKZdxxfJhbVM9HYKXAvlXWPPQsdjrziPcaVDbxB6g0JBMSAzThMZiPwmAglyDU5Eybl8GMfK6aiQ9wo2BHlU0fqqYaXsyzBpNc+0DNPxi47D+YdUDRegF7xF/9VPWWcv8pRkHyhXDUQlbWP332/fXCxSH3oZumy+npeHmO+YfLqFAdHv3V8dVcLsYyJxbgiX4u/W20L8tski4TE5QAVWRzBfdHpEK0jtSqvmBJ5uRoejVpOXcmp2cNSyMYliySwapGNjVKG3KQmWsKETZd/wq6gskeGmrTo0NxeQ8kYzdOY+CJutnflBL+WGYvYpXPryVV7Qcc/Nv189R9U3bnUjPE7itz3Jv9GnWDVpyo3uDicpakaHoXZIqa3CpKZIsqDu03NE3zAM8cfWVpauB7mKrTUWlapMAf6Ak0xIH0UxKTtV/rMLO58NrP9dGCDWd/6ntGf/vTABWcCaheZ2PSHqFo9Jqm7yrzSRJ0uIw4Zkx8yaJ3j0h1pVacfrGRaa3eLShusawSHVXCXlfDXwcOjP8DNpiNnWCLKsQVF0tzVl9rOpYi5yefKuQ1GuVf2VprWUz5s9+m0oqPbj02GkCwVSoDMousnvjXD/3KU0vmBZU012O9ABwFnMALqa5vSKK9DnPP4m2xDtjvY+c8Vr/uU41eWFu9h6BHIp4X1YIxIctWhxL5AI+LysRY28piEuW1XNrvUREvIKmsi9kr+LZ7FHG8Uhs5LsXYsokr9Fv5wq03O4GgeqpPWSDwnZA1clOk6rFmKQ7uckW5o65x+mIo63CNY7ws4LzqDBbkeh1IYencjEiFLGCTRH6Le/G7BlbuRy0pgd9sdoHtm2KU/pxZsB0PqkwtzV9gm4IGZMyo3vVO3oR6QY/02YhF5U5zBBFe1wdcBeZx7mBOqrWlQGNYEybewFk9tjOYw5cgWg9R9uZRMalzTXHU/ZvnuNNwueQGNbRTc00mqeKCuyvZr2stLezDfDyT1mxu2wwQL99lkHnDg6F4h4aHYAoTw787R2f2koPILgv1q3iB+RO7z4er2JYc7YouTe6sPDBw0kbVbqYxIWfftizIZ1d3782/rXUzkf1LerIZYJHTBzABvGEtc+jyClRjxGzP5VViyoDJ+Xs0KNx5FV27Jg8E3oh1ZJqZ9PX1Uk2oNqX1lFPtQNlTroMc16yMjA7rWPeAIkb4V2KzrlJ9K2lNw3YziPKpsn/N4k4O9Q3KfgUhrjEtTsGSjQH3jl54Tz5R+D5cCUrfwEYLi6LWfM8Tm2NNxPyE+7DrX/qZ9F6NfFPkEqeRul2xTq7yDkA0KDgd1pRv5dXUR7wXeA4cwcGB96se0ViIs7YfxDAKgCfhpJRq2bK2Bx3b5LEvZVFw2pMHLBJQX5xzHZZimJwLd3wTQ9Ef4LE9zKSb2sa8jAc9hmU4+lvrvt1Duh2X4IOK+OUckDZeacMPqi+wAI3atgUkc/CNBbpm1jGEGNOz+f6z/cxwP8E2OR7O0zpcEnpT4ouKUzOXkAJFkzkCKUcFGio1SKWP7xE8Szg0A6qXHdTAwtJ7E45ii+EPdUCmVvXQlQFIr2GU4SWXIk2uD4sELK/Sd1m9dcy0S9VGGEscthxC6NpCaIJZqZlrs7RSo1cUPsDnikgLrZDRz0EPe/MeFuhD2V1BeLYEaz7lJfTbmXMf/6JVd2dWqqMSGjaXQ0Q1F2mpDCz1Dv5TmqwSQP9MfHqD/RKI4t+Ey+P+UzvIg+rlC+PprpWTHeK3RWGIIlgjkHZ7XLljdR627A7WlSsCCp1GwVUGxz2PYwa7i6ZRoc6f1nc8GNChc72akuqpVcl728GHT7t18n+dZrSku6JEaISJxR+lN6rwaOyuag1ONDq5T6KDPvXtid4qRPXfvHyWs88VPc+xkew8sH8F9kAsqEHr4XV1GelmP6kG1OOnTtbINOaxkaUN/XPJ8XW7cEVVC9BzXr6TAYNF93UA7azRQbmLxegyTn1FZ7ubI4VjXXt7tlklwGMeM9ivexb0SJ0PoR2mq52uQmxfOwB6vFLNSFHyFbdk5ZAbzhBW2eFOZnzYcr4z4AMlwhpvbAKk5GOSGQbZcQ+gefsCrLynVG+Net7ZLiBD/l7/6xlDTj8wuSn/WTwPrKMRnVcvdvtB1dfbwRndQSY9ZuvBxTS6Maa5RgBONRl0OHKs9PcEG4esp+Hudw88mxkZdMWo4jNPtIoA1T6ec0vfUAHEnkgOTOhnSP+Fs2xWhvrK0X55jk8vm0LrvCMxzR+HPobdNIYCQADy/7TElrF4CJmQn6NrjOfsBA9o+oJblvDIHwihgXtFBTyZx3j54Ks5w1kG758zf2rt8qMe2PjU28yo9OfB151pfUchb0fgUP27D/i7Zs5HT21l/XJLgkXUOUqMt5UASngsYl5I22LvF1pnrfAle6dyF6mLAho1miA9qiA9HaW0C6wSEL04+BzCn5jqrYOyx2AqJXzxtzkcQaQDmXpmuDyR1BUY4FqA8NTtfDwDRPffUD4Je7EBDd8C27HJ8le3qyI6g8oH5NCts1bObtFGO088OZIkV9tX5GQDcIf3ZLAsn0TsRLPKlI8+oEan2l26n8In83okqavgZAJcUynmGQJ4el/oFaUnLWI7Krm5HY45Gm/djDnrkohNbd1ZVdS63h6QZvgvpr4Y6XeNKSV8lhtQmTOZuCDCflD3FtULxyZTR2Rs+usxChvKJU25TFsOiBQbC+Eeew/U+zGxJowdPYZXm8ByRLbYgRZDAyGvqiJAkuVOBdlxFR9o86iJvh8U6jnBFM2n6vT5I3/T1Q8QkLV9vQd314ncGyZDycKlnHd0Osur3sYZEy6sIp5eheA0lMq+slGbFz6Fo0qPeisFkPnNPvTRm1rQmZTSCeH9c7D7Hj2mAWmOroz2SZC5PkTLoYAO2DZAUQrWl551B1/ujgGrleI21u3ltBp8NrWycZRP8CuhxtV6irwp5WDYZ2xV1tu+uR6HzSMI3Uvlce2omT+1cF9URpB95PhoByLXKvxXLhZPKOnunJ/t+w83PX/l7ZU2L6cVJuYkdTfmTH1TCI/7bWvGj6KJ7r2UFOeew9qWSHhPs+73bD94Mm+RHm4/mKb4a9CxPwaLdBqk3upbookV0Cmv5MYvkJeWRYawNzDT/x31+lskWTA6orpP/S41X37wp4FK8W7a61APAnwtZdmoHt2N5Joe35fWuyGX+o84iWU/UrO6r8thTp6+jtJQa09lvj/2lHMrJJHBmm3Nj//URMgBk2CL1jCe3lqVIpyY4CHlAyyr+ItuGsDN6gvYER5EW3UQMS3xcKDemvOdYY6nki2JJVs15CTqiJrh5xwupbCNxWRi6D94uW4C94QVKnuHIxWqGsDfXaFo7QLbmoYhK0vDZOk74cOL4a5RouZpFonndV4Q6GPYImzlUxLKJgC9THeIy2rGeOWiShmpxjWvS7vmPLZPLqNiTxZRYJUvDLwVnJw6FNlcZd1Ht1qnBSD4kSDib7BESCLY+hlBf3Nf7Pcw4UhgEVG8EBd96Btjwq8pRRlD9cMGiLadjhe8VXaRUzyzfhoKNMpG9Cbg7KhTmULv1H6px76ak9C6yFkaXr/muu5qgvF9HD+hcCtJ4Df15j0tKVrzgy7oG97sGZrMNUaGfW+9pCWJFLy/PEsbW7Sq62WZS+fv4Ai0xOM61Qv56NyJ4gT1C2njACBgj7etX9pi1iWVR1WNzd5w6VGaeLQuuPhXwotLR+bvBT4O9Whihgpo1XG1YSyewEbqeQ/D7ZbUFxyl9Ookx0KR2ndxp9RV2Mqye6XCEIxc3VO/3pHgH+dKf5xJSq9oK+LTEnRI4qXgD5W4tgbD8H7ZZPmClrkNQlmqO5n/Hz8kGFgtGf1eEoK3SYRbS5KrVEZxVrAfQFdGMtaui6ksUcLYxYDXRicGnQcMHaj69SSSseulidlbDlMVQKZwXSPyY98G1L3LYex94uLFgmgHlL8y5rHuTya3o1Pnl3Zm2WkE5m1IUYDM/RVN9sY7Jpx0EEu5rCTqsclYMKoZ6V1Y00ED/BbXM3kRaxJvf9oAPd2kCwJVPL5yWFU63744PSBZ6SnU3jkmMIqyViyjn8LGvRewo0PvpRzwVWhzGQnF+nLRik++Yn5pjwcDwV11w9Oyee3IV6RANUDUELnVDB4IAlSga4RnrWDPl5ZzZY36e68yB/nKw7GFaIzyu77239KLUUGErPQDyPiRc2SESBs7CXSdTr/CfzBRA3NwaZ7RmclGe4Qdflii6qZN2AWx72liBI39ZUs/e46W7O1RvxDKWERBPsghyHv9qTBuXX4guQpyCmbsKnIr0i2Q/l76ssoKNMaCA39QgMdpX5lD03ZrR1lmTC1HTabsL4rzbfEgH0GmBBy3aKyGKxI+iNEoPR2YtcaXsBTgGRqP7C7I0wHx+DpdT3wJMxnIVBZzgdQ2deWRcnPpAqQejCk7TMtgo/0E4EGjIaH4/+kiW89CwM1BCFMo1u+KT5/5AZYeuP/a7StqLJFR8/tx7hHzPvCNB5QrVFSfFgTpILg0awiKHJqjKQu7kt9oTURHPIVUwVh0f+dRcLDFTemoMdBlK/N8IVEPm0pIbbLtDBHKsUbVS2dibI6021vC7dClHkgKoTUXYqyYHvoQ828xRv8xOtin/WuPjJaz4ealJcRWFdazZxK4y9z3gSAOQwfWKORIvXHAo/s01oSvJhipyHhY79yTg1ERuxHp0AihW55ov0KaAVnaGUBem+mqaBnpei+5o5L35VYB5oo3GibOJEZ6N7Un8FGcnS4j3gDOsA7rQpmDzX5Z6hk88k40nwG1IC+hCZvd9PlAT5PGA3h/4YJIhKodDmBQ3VmiO+sS3xgHMWgHNMc25njegksMWjaKsBWsGbhMNWYhSB4igD59xnJ+GWxvC6eddip4SSvbiOnYLeVO4Epe/NE79VKQPe4q7wFPmwYc0LcvAJtqPee545CGRLa+N8Egbu5THF5eNy0UO+oSEx32+j7Jb5r4UtX85D4pNf3j9qcoeUZYCzoCZ0oDbxnAl8cs8zmL0Ulcd+GS7jv/QF7Ya6W7TZzI1V7N+CxKkpMdo2FALeHI14l0j1nJD3qmjGQYmdjmuG4irLSGuOot5vT5mwo+TiBSjr8eUF3tDaZfHu2NINDMHxZAZahGeOSwySpcWGB8rxoX6BCgPKL3MnvVARkYZB3eRKxm5KNdzlnltTyZMitdBYjrRf/fkb9Eoc389GOqG+aZeyfnSaqJUMlPmvp3l0XYwbbQsFfwNYrreXQkw1Pq/7uKzKx/FBNbJ1QMahfozBi3MZjuS2U20C3geLYFkzSX4ruNvvRWqhKEn0QPevV16ka4fxM4hc2oJeyigmdseFDAMxyTKJpiKYADQWgwPwAjhopCHVVgt3ojKlp5lT3uFlMIBaa9TghlselNl1CDDGKx0gpa1DicFaCRJxYpcCHGpXjNIVDCaTUlwB5rfcrQBsxF1s9NHmWOdmQG/21ixE2VOfFyYVybtS5LnSH/ynRiFAcThvkvT06AL43k+cWnH6a5VqDe7fKZbpnOehZYQqRWMcTRAeTaqZJew5J26WJzCqv2iwebhkgQryAHbR7JJMpn/+9nuGH0lHfZruix+q4/8OAcQXVzUnjXc0Ev/3cY/bX0D0KrnpnrEui6+k6GoUROznE8iOeEoc/iwcXW8YEne+IrKFk7mCRAuJjRQLYZ1jhuPUmZ7E/qJklqjpeX4HbLF7cgQDFqYpVvGIo7AoGDALdkI2eZbsLmFVc3nE0hItU63gmab4O5JQh7N2wvvJp2rw3iAe+ArV9nU/oD1WQ8u/4nHjDtRufL2fgGJyY8P2wLlsEh2wKEA01l8S5kcNkvdVGgL4D8eYNUTmtchHUuXTGaXHjKRS8lS2unFJlID6DSkQChoTw++WMeOL38PYzgSRJCAhKitKfGNivIkrX4z8475oev7o84jlLMX8pkrFn5MLqMvEBVJHXsW/SsnTVnZboWXUxNrtAs7TfxIhtuSscpH39aFT1Ffn7fpgs2RR7kQTKOinr4bX62LSV3VwOyI1DKxI0lLoAnnrsbjNFlDUDVmyU/4PO135GSrf5dZK3XbY4/4czM9hblhZor3clbHUwavrUEcdpnzHi/TjB/BOc5mCpGWkyGPnfY5v9WiYJlXj8mUSIRrasp/5rHiIHzHPlz073a5nLigC2ez4VOCumirW1Bq55jxoVl/euip0POMlr7jqu2lLQKpUbl87FYo9AbPfg35zft9rD2Bo7CvCN1i0hJp9hdYaGlmRyLMDFWgasLwmT1nKl7PXcqdSBPnns4TQibJGls1nmDSnYzqlkwCG/b+QU9nr9k3WkjFsVyDbplR2zH2eNEatl/jVTHDkqM940Tw1CWoxaDlLDc4h8z+R9ytR/d7spbBiYPoQaF1mNtyiUY3uFub3QhyEtwTRtNrjYvLRbNnzYWQyZOpXRq1Eu51dlyP5/0EmzSDL3qbMl81x/wDUELKlha+juYTc/WRpfKMWygOZzmobeL+5vWoJK1xiIramu22T68efuifrihqazLIkPfX8tTM39JKQz+Up9Uj5DHKF7IIUZ0PfZMUrztAT9JTIcAJZPi7nXB6pCy6dUFGjXLag+F1H7Y3xr6hfnCb5A/yBlkzdN2RP7wpa4VgTpiGKCllEv6ohVpXaod16J8vaB+rI/t33SnfV7snW9D6SQu/rkGjV25fQavXE6s1Otc8yxFEJY15VRxiFQBbYBNgWJqRmmNaGxaQV9If7XyFBmfJYIMWwSu6RJ5Qz+eQuw9N26YKG6fWwj5BbHsRse3Sdz5fVwKx/RwtrDeiK2TeVxYhtWKigTwda9+P1KX0NFq1pGJz0f/KPxjAN5B/bqw7B/8NyGTQkWvsWR4A+lftFbH+ALLQczFkl8+UJvbh2ag6l5AXV36ooY4OjgZtJLG8ob0Gm3w5AxwIK+vTDbKu2yIvz010qRXWSBEKMuBB6apNyPiYfcVIa3hzuHyfLVc/PWurdMCHq/Z8y1Mpe2YXdEPNCHvEqjxWFGuZ+CSbxmo9p5ZdnN4FYz9/ERVX1R6nwqe/H9cR5jjRNa5UoDO3v0KrOF2jhwnkEQ0fmliaT73R1J140pMc+MUeOFMMm1NVmhzTh4zOV/JR1jTUElPBdjQ47C7yv0FDYns+xE4rPs53pReVm3fHdTsdaWXeG1vvPzFAbRQoJQlbg31ZorT+otnZSUMF7dTLXAZYlbgJIyCPkNv7GXbqkDGF4rl82QO2io3ktc6nB7DFH/tBfw4bEEl+0637C42A0bMjKP/ObWNPUDPw3488nLgFYuVe4ivOq2lT0YMzw0qtEpCGok6GRdmtwcAVB4AAw8f5PxW7mTLUrRcRyHKlD4Glbe+mI5zQ8Bi4XI0VTre+gz8T8O9Y7XvUIQ43rYlLWynYp6Q/aHXbiBtwg8hdORMWJq+pdv+mwOOz69wQW9nNjAbU38Fk6cEijbWP39hWoyCfQKiKlXLsQZAhIko+7Xz/Ql0wIUhsWJfpdf85dOg3fDRXa+G7dO8kz2FpCMCHec6orw4mWg9LRxsPXXP7JymVN+AHOZIa/pGDcAIFjSGJhuOq6le0f8MRD+SWCTuTS703iDdwwhqremr1Yq+RpKqFoi7pF+xVsGxUwweSNV3NvybPssfcY7WN1g3XWuFC9l536tPnliE1e2e1RiMbCLpcpQA5iaj3twrBNv+bIb79Rhw9hOvhHGbCym3YomMxScAtTUYIzT9K5WslK++lbnbh+9Pja0fSFpDAPCuT93z4+R+Je3/G9WFkjz3fAeANauZgDGSUOF++Q2HrEclOndw6k4ezTAKUotPi/8mkS3JSi0IfCzmdNvaxmUQn2kY5qZG/+cKier93AVYHInzO/4/LwgeuwkTSBkIYhK1dINVlm4if+mIMkXg1IVJLDbotuUYZe4ftGxgvyHr4YpsURnf4KhWU/5SW5TPXa7HHNGV869Zrv3CYihIEWh4EnZRo/4u9Vs1OxENgFqOvjlKJlpm86CAaHGzR97UM4peRjgCuiwx64c8Ce20T0Tvlzz0Ap0DB8GXW6zq+qK7Y9dvcSQseZbS4FSYFBL9UVx0meZmSO9X60RyV/ak0iTXcL+pUgtYt1+el5sTsBqTEHgXsCQZPMdIuSc3G2RD84L4q7ZH8o4HqFNpx33snaHqVBCkJa9ZAV323aoj5VOwQGKX/sXkRd9vVeAv2rfquoZPhSgLPHqr9uG87SarU+iX3nIV/VDZT3XTNwM3OfnAJnPELMbY00/uKW91vxa9XvxaqZUtpgBMjHdPNfdz5fcSxELFzRcN0bxgI/H0sv4a73IAi/BrKYa1cgw0gBXq13O8D6y7WVjod7kDDW/IKBZqMMWhjH1qydKpRRGPdelAdnY4dpzXrU3mXc9c6+K4F1K7jLvJh2DzN9LxM9b7AlEYx99f2mOosgoNuyDojUNGE6/SI/h5CvTYuzpG40mNvsHRImYG7zc8oWFcdlnrCQ+sbNRqB/eECRSrhDLXBahoKJq/wjN25GhkzopVg91nsZc7iUprlG2LVHJjTM/I//mZbN74gSPYjzb+3wOeAhLJsiilZPFz3vty3+67X5GBgOYih2CPNoLMVtILR6vA+M93Gj40iqBjMUmCkRghtIWVb+wTeH0G3IFvhTSPgfHlssbUE3v4NbRkWRyWAeOYXTqwUJmg2Fheg0JpB2X6X5Ymc6OYUhHba0TSZTXqktug346DdSWmPonq3D6R9DCkk/OpbJBCAonMlHJiA7iWSFO20e7Jge0iasCEm8EcXBYTkyD1VgJbGMj6AzLTLLo4OqCr/AWxkF5hYS/AbsLsj2VLkuOyjXWlQn0uO3ZnrRUttIHHRFEptzv4+C3z0yrq8my+UpS++NzHEzwWOG58gje9Cu26aIMXk2LhPn3n/2/mXONq8dv4GPIJqK8nJb/Entww01qfDo28Ex3PUamTvqXxJroVoJlew4WAJUsFsxbjPJu/JhMxZl8kOgu2E02zWwfI7trK616lcXB2MaUij9zewSGtyRZ2nTnYt1VjRK21YbLkNf+d9tJ1BywWAot/FS+YGw9CfGiiJkbgJDZagX5304hgCf0dUuUH/iyJlDO54b2bBoJqol05ApDLx/IptV1nsSdtO1FLmQR81AYpm2waXAmhG9FKlzFOy3uFB8i2Kl5vt3K4/Ofh0a0iJSlDlgMTBhds007920RscwWFHnKKnaCALVIyBwRxsZcioK6KYwlho8nsXe+xmbESWP/DzPjC//ROO5RCEFqyH07OlI/GCX3B45Y6d2+Mg7igmFvkiA+TSsgfHSx2iQCaVrGeIcA13qpYOLDYpx3R/vud878WK5S1pslnfKC04vbzlhWutLVuodE4nrJlbhuzAtX64rH9mt0LgYWfP5bQwoSR5oih+hZi9U3IB94EAQxk93c5+sFPPEbC759ZW4lNpB8eqDMIhKJ9hpZz2ewLrhotKxgvkl23e7xL+jpiohsn9KteGPV6gzRnykv63CeazG2A3/u8vLoT1++yYSa48pJ8jaVw6rm75CB5kYUkdoldE5z5tZrz7GEqfbwgPy03WRxCiDiyE2zb8FEiystksCCnV10W9ahyo0AbBSXHGQL4GmKAYSFZ+MgfGu66CAeEAnS4O+rVL/FToEASdWv8l+1tmvYZzUNnx0UoMZBD5cyCUqfEH422bhfJD7XWiS8nZncKKiylicT4Xovoim3LmcIl0UO0po5HV+iBG0qRXGGEN2JiK6QgazqwugHNQOOelAjgeoq9Ud0EZ2mNEXmO6CKQqs+ts1rAGRswxx2jkIe9VzD0cdz9f1QKO9PUtcs4vcIea7OERTbf7V3Sgg9EwLK90oJvBPGWpugZTQQCRpoMJhFLU5+DdxDsKUkFqOuhLBVVrer5axd9vxUfXzB6yWJo5sLdarxDY4fOHxZ46ololWm3Ibmdd7R5ANSDCCtVpw60iiVzBTSiqj2g+0LjWRlwVn4NsbSoFy1x29O+JdBmSbAWRFQOVUKYYL1hj7dk21UBfqY43y4PPNpqP5zEOqby3LbEwr9hw="/>
  <p:tag name="MEKKOXMLTAGS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EoTWGHzRkBfzgVfT9XlGf9vLnEyzBsyZ9HHyajR5JbfctLS4CmOqfg6GeWWuZWcMQ0FNLjb1mebmpOb3QQcjuXFczmts8YpdZu4+yhEZHoWYUdIDivyIC3XLcFk0dYjmmtBFPHMTg4lU17DIhi7+zB5EJHV54k9I0f8QMU6Xoi9biHLa9OtZ349WniETxMcjwB4BklIkQ6SoqES7U/6CEzOx4F+EzqfS60X4aYB8I6dxyNNju12kfHluTkx/N2GSlYc2vLjpQ3ovkPY06v6i0pYd+UGu6Iuix1xdZ6ExiKFAWrlS4nxp24s5nHb7Bn9OfqNOW3xRYcOuHR+/WiXrny2tZA6IYmzcKudAsCyHzdqIc3pudH4KMeZQL6TpMclZnilcRGNC+F4b/nqXy5Cibb9E9+Jf9yytBtAhvRGIHJwKxyGsGewyhMNPes66SvrY3gHh34FEb/5yNWX15L0gj4r6FsE++GtqpHPZQjn1C50qwdXSuJiBnX2xJw7JJBuBQYFlQExXrN3tW0ox/pADl5lJJ0bTx1ZjyKOVPwFVRvfniDpM+3hOeMRTyhu2w7UOEGnqNqbcb9PxBL1n4LO4/aC6PfpLirBZS0yQV0HvGLPIB1n6hhYHCIYULp6bxk3xyeFApIUqVnViwhlD6r5vOP4NGqmownykt/Q2s6cKvoiAHFzBFVq5IRudbDHagbasCGrEqpsm5TL56v7aJIpoqyvM/eum9j7W/Zh/IoMPhbvtJyS4+fYE/9xoE2tuYPqaA2PM0WOd80laC1BNdc1o/K2VfhmXQnapldZF/vuIQepPwfY5oc3R7xypSUGny88eZyUPADDyjA0G+S+hgZRrpYvtc3LhufDgGjlR/xzs4010nGi08VO3IvGY8axJdtCK2PYgkFPNnbGQC6PKr4vk4+VzgPCjuQz+0iEJqB9ojId60qvO07cEiCSha6Yq7tVaG5J9/UZljxjR5lf1HCU5fUOAtm7FMopLN/trSXqXp4wbfNKpkYs2NUV8EcjU2I6rvI8QrJViVRc6pIbEs9GrbK9aSgvp2KWxOFbYb9ZQigFh7MzGbA8JAgBhvyvXUR9W71vTty7DvhmoR1qtEIFIMiUBIj2IHvrdWsFsJeXFcEq6pEwsvHh/7NUhlbpIWi9CsBa4hE9ETDKlTBbQ5VQ5dm0Fm7r4IJpPdCdFklDXge1Wi8pUU+/BWyot85b28OXsXjFNsEqfe819uTpZuLbEtQWD4m1BI7DdsvxaxynXZgOjsfk9LfkkIiULCKjMyRDBGJ/bPm0eRfDNBUpqHDf6/LoWoDz+AkGLjNixaYd1G/pAJbW6UyynmcBiWXLJO45Fri9t3IK/Wg3zAZLR6dipAJ2SPRHpOXLWlepcXFUx2vXXFkIFcwWJLwh4yfCPwsj2JYJ5bxrhQKcmsO6qDXOcSRv55BMdSRO3CrKaxfyaO9UbV/UvOzRW5w+PVLVoVcymjJWvOD9vXtlKZ4Ba41ShTk7z4aTIeplyuCvTMwT7aPngtI25trvnBVMfCCtofxBAmrAZMyycVo4oOrP+kYfwTc1WuDkHCvsanoth27Zl7Yiqbzr99wESJ8J7omyEfEz+ld9fd6mDlKGxF69f/cEgbdEkHR4tsaady23rn5pDeOqmo/bWt+FD+BJtjhzCSA3n4lYtmzSKVg/RGRM2UBTFXOmlF/nVw0m6HLlN3CapOSaN4Ms1cpxgpfcsAtwdL7RnzCZEMow/zx4Ue2PoNfj08Wyvj+imUB5pAPJjGQDfaDWplLUg+oi8vvJsbTC7cOYBBxL2hCw9iBnLVV6z6BQ/SCxjC2MycX0Hzd7f6f661dvGLYsymGYDwwY5vVz1IJoPtJQeDRbcuQeWEl11ps9Ol3XrXOXPr1q8AmfCJFdcLziyUZhkphhsUJiiwD9bvQ3SqnnCRiMpnBvHNcFY+lzczcvsFkEBMOnXmEB0LApMOeL5HmxvVzp21ry8ryda86JIHlTl1avnLIqmBj7IsyCqp4vUsFwmr45hwLH5TB+4kmw3N4mM/w91/mkmUI7eUi5bu2K3dijYOT/imh3h+OBiSq/bPChEgLLdesdbBM/+12Lm7dqH82Y4hdZVy/QnuqAZvU9ldpbucGF3jvvZQBmyJCJI0nnvPFdlbWWxvszVI7+CdqoKYRpkZYT936MP0Mlmax3RUVmCut2kIuX3i5RVjRcxk+EfFcwT6wZl3/vQJx8g7RyCNAVjF9asYJ1lr2yl9sc5JNwQQ+WZkfbXUtQN1hlJtDnGuiNIBaRSwgi5Kn/mOrBmB8xo/UCxqB4eYZYmJquvMAnFytFVuSTBmwEQnDt6DKrFNhp2RtpgC37OOd+gISdhRgU2o2m3vwMfzPBXPXXbFpd8chbFvqn3G9xLDBxV6G4xBvUlY92yivsLJxmrb8+eddmSsLUNL95UOCurBr+ntsyTDMYyEkvaKQGuSPgneg4Nz9e2hNM+9iSm9S5z4FNJAThHK7/t0CbLBQmu+4gusB5ISD6FyzH0L/++mulrV/z/9rsJyCUXwNAT7K/yboIYJSKV8R7dJMEAvuuWv+xeuc2v+/3O+xkxLcz8GzhL4nLrSyfMR23mQTQ/0aPBUaUeNhAERsGmpp2vlSn1Um5zKdQI+TmQZFvPkKvcJ4Z2krThB75q3L4+iUMRJLPzCmZQdOZJtMnCHBFu84gZGlO4JQF59HP/U0piL16W+8gEusO/ECxj+Dr+VnCxiRDc+Kb5Mcc2JG2a2SRwU30UpVfhzBgZb7Jk0YNAn/oPQf3cg0kgyN8i3oVxL/ZxfHZavDf/VGg04aMP2kpxxAf1eUuLybol5dQPeYFVhSffxKeEMT8CaYjvbCXcbsB3FCYf3Kqt++/3gG5fLDBPM757AFP+QwiDqPLZNMUG+2C84F0XS4S5K2KANN2vQpyQUgV59USqg5F6H9rbFnYVlm+dfB3XaoYbiGjNy+Spueqg/IrdqHDOkRCDzca7W6RyH21tBw54FKExtwlbg7cFmECeKca+q3C0gP4NElcZ4QfDhB/RYO/HrQ6lgQnbycJojNn6AXGXRXTyf+ZcSOS+psU1OjQWSOhBUcapBAMRmsWrNFrBl54ZlelvR1s+PBXs30KjaTTfQHPNazLhpcQFied8FLakb552VbTHMriWJB6vnX+BL+OsVkV3ANOwaWb+9nHEifdUB+qtfBthIuSl/W7KAL9fN30yFvl1Ox76MKj0kNePQ9HpJ7MPtPxXL5ohDkCz9X6vOeUOTZKLFelcB4Cl28Oxo1YTLS4RZ2cbAKIBk9Yo8ygtXCTx+ukJy8yidne15lMRgIws26wIZ8Ue1gYY2dw0baWlF4PWeP38tSgTX4Io3IjY+X5f+txDFh8nvkhi7S4WL4/HTsqmAqZbA1FKb6AsUO5rFYJYPh/wa4ak9Sbwq2tRqYuOdxYv0lBuyRABPt9lOCZcSNvEv3mJWaEJd80HtyVooQCUgpLdmPS6W3Z0Z3F9imjKyoWZw2p1Fll9lxyaK9Ruyvmv5KdJADaxNIlWaTOUQ0kzHwlOQDAIA7mQbg/ybdPzA54UXkdYuoE7q1B2SWZl+OmL3olT9NNjAm4IUM5RgwWoRHll2rmjThW/Eh5x3wSJLeBUZnZlSOyts/3lIgK5Ta4CmYnWDuF2PzSWFKyhyFVnqEiQwSX1l3CMUcFLW+DOFTYfhm1LqYaE7IpffFt8Wgu1NniHge7ZH0lVl973rp6kOEtl8TJYZvp+NNqocXqLxbp+7fdk/OcSbsEgZarLOp3mqX/TDXCfusDwt9gXrERJtC9UBi94lWpINnreZVzaY/uzOaiT2n2ykrAwQwyyoSrKW0BGcezH7nk+CYhQibWmqnHIos9da4xoXN60HhaRwrQI28iz4ZX8ak4PGt9AzvDeQw3p4ePgJ9FqYuiCRYo8u2YGcY0BLC0wi+4kqecUbVJbOUgorcia/y8Xm253OI/vcsm7igYqTA8G6Do1H47ua6+Ata3o/DmN8vzoG4yWOGg3FXxysRHPj3KOKLM0co886aau+Z6HZNnuhJI3OPfp0ud5vNCi7KkVwVB7VfyBhcdBOQquvR55/NpKMwVlfvBGB0P/hnOZsT8fqtujecpeVyof2evfAoM/Hs1tYRrMYB4UOY1S4roAliKjrEBZEZAuCLLepKz09tuPu+Cvdkvc13maf83EHyVn6uBzKUCfIz15hss1NU14fkScL+pbsYu64XhK49J5ELSoiVL/gnZVqwPjKYETUfisWaa/hDBBMNjH6HP8FJZsBhw2tqhb738JIZWGAKR+R4RJpNuVCStLYD3YCQs6EpYUZrKRSu7cfaMUfF1Vbf8dO/ogCdnXxo8gBc95IRXyejao/0gAGxOwAsVbM6DMm53h2jiq8nRrjDIbM38vkU/Nqzlf1yOz7eBtBwQeOsDaSi5gYCLo8XAiLf/E+EHRLAcV1n55WwoA5LMHnfBoU5Tnd9bSJZmcZwzAPYO/o6RpCQZtZs1s/2wMsGNIGEnPYW42Ub84Zeao6T/Y9H6AlifCIEJBR35gdndsFuB1JAEvmffXrARNj5cJobnCLIr+Qnh3qshcyrvE0ze/Sae5l8xf7I1DYT0TDyp7dgyNfYELtVbrvu8mQ5eu+/PvQp3rb/57N70X3QSwFU+RczBLqVrQO57w6HPkBdsLy0nff+azDLMg+RXVBAb9crOTEO+iFyJ6Wc9kvYbAbQEi1AGR0zPsdUsTqTXHNvQsLjtzggBJ046IGcyQJuGre1tHaSWVSeksqUd0GVPcgE7cIBRU6Z6oYYR7cB3lTRUgBCMBcd01PjGvHvjBaUxZyhOmoCpt8aUgYv60YtNhjdu0l5/vswqZrJTp5fEw3NHi9r0xEVlQBPD55yMC54Om8VwlYYjFAlVmLCJKCbTcQ8YNdvG8RpYOfg8GTzZ12cWOedby249i7CuqibCQkvbAxLgy0IxjzMUbkDYNCvamJck3MYTxjnu8kMHKqtyY4oer2RxEHH/9Rqs5apxsDQc7oFlUgc6Ss144AAFxw+eSlYSDyJa1IFN+fwysciwNd1RMSTD2A5O3ckaJ1SI+b33j+a6c4gbIFioN116g0Zz8jK07+ateX/mk8BERS9NKUNafKlPGrt1W+McmHq527ea1+brE3Gq/9ZVm+AQjv/ntoPLLqg2pIirp+svJRZHFMbXECvCsYvRm/QVgTrhRY3+qf22dMlacENIG346e9wQ/BW7XQcYs3TKFHTN6H9I9UpKLM3El17SwuZ9U0pTY2ueUugpBZylGWvCnWrGTmdU27Rxef1pblcD1gXeD1QOr+1uRLPgaEjCuSbdnR1rGiwxB7macwtyHwT+KRZaF9DyrffDZZtKHDuyLpca8zd24zcJ9sFqVga85PndMJJRjpFm4y6SUdUzct1asAVFMwN2Ol+LvZovdwfy1ipKVHQQ5gikt8SqHF5TyZfRvVLyOKj3kNLBt3AtlJ/QnwVqZFr5t1EE9BzzkzuqLe+LUP1tfWjGF+YSp8PB4UmEhJ15n79BN4EbQrtbo6lhrVRsrlSq/nqqG1bCkoWHfHH+lcjmc7qO1ep24PDDdkG4UNuSz64miGqtRa5qMg3ZswsN/aJVTYit9ocenibIpnKh6k+/9nQOBzsEyKblHU1AKGbwKzr0dAepEnvddfGMLsdjF7e29CiglwEPVLcfNr7Mj+Nqv6ZAu1ycNtpsQnTglziShOaOB2Vw8GiwFeVj1xyxmypZFNzvQaC68FrF3/z78lhwhpZtWDnx5sSDGLYin5Or6hTObs3mi/dr2M31e0rNE7cbGc+gBf5Yob0Yl7w2lGVKyVNNGxMIFl+M53T2ZkqTK1NcbfEBxajg4uuKRGbdDquec09PFrUDo8MislESNs7Hc+fVl14Y83yQFcBnyzRRpz+wnTN4b0NHKsOHx4mofxOh7l46v1Bt1vS1MprUSQpNI18WwU1hRFOkf5fQ7L3gZCL8Mw/9FJtNuwmMAApYi+yzvWp9wUMtwG6kL4Dew7Wfhc2sv89diSJFjGWFDW2Fke2oZu/Vrx66h9fMyGtAG8AZ3hmLQU0QGx0nPcFtErl/arKlaN9FkpK0aC58l9kUEYD9aD/LACYtr5d1IQy7eTBei905QmWhnjStxxybG97twLm9tfBWpdtz4Gsu0Pq6hc4ywMSEs3BAjmjqFMmLUkGMxC66vrFXu7O/+6Zn6qS/v6O/Yqv+W7taBKfxXuBn0otC/Ea11bXUBwdSoevcc8qwMXNWdByd5BE1Eu3ehdah8NerZBrusmV6fTZ2AiP3nWXvPdyWvIMfEJ1mTVsjwvCticZgH92VEGwwdaES22sBkTOKvIz+7XsuTlp/Hi067FBCpORp15SFLSv7ij/7j5yMASXANX49ASIT2CbhC+uz1kYGyWpTQxn1+u2DMYcVtz7rUVnZ9PJIQUjTSO/P76CrjkNtWpOfr0LMplz6q1sPAKW7Z82XYGgj/vWp4Y+ttOyX+F1HyHvVDoU8IRLT6n+vUfaHfletnqLNhRGxMOuqvvesx4b9tMvkB9bL+XpP5451OAcU4WAW05CxFSPvB3O86gIsM+R1rbZuTReMN4fxu5TecwVGJbXOdtDe9dxXzSjBCH8PJxwd5qKwgWQhKL38nJnGqTvKMzhLDFUNGVEljELu3pFHdD7n6sJIKIYbszryGa0IDVb+K0l4oH4kZ8ipC+Bpmp2HqRLApbjF4SRk0HE9iRV9DUiy6TbVYcpOpu9LAKnxplNBKLvX+MhVpzVvBWmIqt7Kc/zjtnHfI0q01biGl3oHrOFTqVELQuLeEN+YrnBSuFLWkUGmk1oH34omMA5K6koCTmkL8zyTD9ikBNTAuBywUUMppctzEJzY+JnZ/9QQhOAGNVmPlNogygen8hM0rphnOR3pBpbFTdHCbpjH9CniLxdpkrTy4l41mOXUj6nXxVPUzmuVkw3jcAd56UG7sHwuslNEERg9JjYUuyw+qDjdgwiWejSHTuU4iw8Mzt1mGJ1Ha8Lx8RZKdZ5vhtIiCCf2jSDpSubFSJFQCF8yaec+bmd5uo8hG2IDFya5IEjUudJqIaj4fifK7PPqsayJQMH3yTKrM1sOMX5zzLI0/dbXLZMxSHk8gNJYGWWGrc9jQQxsSQu9b3SXawEY2AFAaOglQcMRPMhL477PHlRK9xAUXeAQbBoPyARoHByejFObJVLhtz3mvn3k7P5UsXGR6jxG6rzDeTyYu73ek1DIRSL88h78hpVhUR2PMMJhz9lJyT16bIYT+ErbKyCBQPELrO7QFeM2LpElfPHsSYKSNPPsrNUXRZ0crW6qrCrBVppFpNjWC0aY7ZMdfOn4NBS/R+WjvzR31FjIPPBRh1PgJvraBkMSNqlrFHt8iv1Ls14iBzaO38RFLaDN5PGEYpNYvlbGXAY3aDFLyYbyzYDL63cMggahClqOtWcvHk1IYIn+H/iarvS13Y/8vlEofr0obUQXsMAFFWNkqzVduH8b263fd3qSzPOWffpBboW0wT75tDbNDl+NjrEcVpdy3CNAzsZhJp7mYpUooxNbH12KWJ6D7A/MLGbtyUDkEaQ4sLRk3lAx7CXcb0tgi8BncQT1J4Woyj1sCznesNkBguvX/WZ3EcltG71xUCbX9Z3qEBJs/E/LqjU0vnYWSvzSb+P1anb3aI8hamE7ezV8E0AUBhUmj/SpaJHEBPpN9riMrUtXVwo5783KpAYOQ0/qNjRyKkXlRejgacjAYX6EOYWaGjLWNnJkkjDWmm++Ekp+ZYBqtseCdfrrz1md9xGW3fokEznIaga+WpeKSriFx50E6yHB7/b+9U0uC3O8qtdjN4llRVKqLTHWqVKrgpOzeZJx/yig9lBW3BiiV/Nvs0JxBwhqKfhHPou1F5E6XYdgXoZKmlGqQC6GY7dPVt2ZQVEGWLHRv0YZN589JuxVcXDuZkY39NpjMu0KQkrSiFtHweiSR4TsGw087QxdtAEmkHCNTnbGC1QvYWIg1IDcuOnRjQzV5ezWxNCZ6P+du20h8FfTO0/jzuf1Gx6nZA9uHyzFV4xy2O5RhhhZSQNthwO/i6aSU+R+VAnTpwJpqKtbxfcyDEwvSm6Vq5FCv4ccSlGPdvCCTxSGo80fiv8D9Zz9oByLwapfeDwdyCUJzwIpTHlh7tjASzXBqqxea/1UEtR4495wufAnIi7CXtv1UbG49Fz+KvhSGSOo0HrsmGYr7QGymaZOuR30XROpIQye8bLfqeclb4daAPt6mXv83Bc7gQrtV1efTK464DoGTeg09mACxFMW3Ed2bSdFPxbzyeoNUB3pAdVzKWvpaGpYLzcKufFn++T++Wt5yM1bLBmaTfIMY6/HHGG8FBgZwrvZmJPMfnclp0SFXDfB7Mxt8GNkRVDz/+bfFU8P45AsrJiOSe8jbR4DSfTxDUUGERpfYN6E6uZvfZ3+Rv4lXRQp9M7TeEFrR+ELCskBzhVudijW5AroP4s/U1Pka6tAxyyZ2WnAPUhTZsrjQgMZYnBqCPgYhsZ7O9egG3w7p5WADHJw/L3oQ4ZgCWTwvDzUOB/r1xf3nOyMF8KpBfq1goiy3TRjirHwMtai7dmA/j7BLFPfpGFrWWoQC8u//3W4OduDPGO41rK5YXRzqQgLTdSE3uwbfiMcsgmpxxy7k4To9fr0dfTeT7fQ8v7MCaxoSlca5MoGjzX1cykTSJAVrWKYnkjKTOlexl370VjhCLulgwkMSNSKL3pAZFEaaMhX9b+j1b5L6aQ3y6YlePlvZQ0dAh7AM0Z78spsFxaMAjkmZ7tg4+yV+w8EsCqqTy/W+QwmuhYDp0KE9b+sx7Wd/h8aUFg2mt1wjv3qQgBhZYy7xq1ymPk6b+Wf2GDn3sPZHnBt4Wi2Wq/qJJ7x8XpyafmUuKen8dVr0b6BPywFpQV9w987s8dnStbMLb47C1rzXA6gNmfGDaFdKDtlpV52y2D/UusYGkr0ZxE1znFkRK69wmkL41hSC/73I3lZMRcORmmds4001FoArPVEUOlDYja9LK6poXmbxC7qbL+nvxW8g4EfJ0lrfIPEBLLEQyuq0udLVmADdMiXAxpV459Vs4cNa0LMyuSG3w0mMRbri2Q99ynkFQ2ckxwyLU8mga6LegmIOExar2W+PowiS61u9tS8TqoHrGLbU485L3OkBXtA2fv0+6R1Rxx2kMJ+PqDBEmGhMm+AmYx6dzev4HJqSD2l2z1Er/dEwsO1GW2EmNx6NwkAXwUHn1xCLURHTQuIajOfhOfE2vQ5Lg6QJnMVyceG7BxV4Ahg9mb1SKt95/vMQSDeGMggoYwPdRbGTwqwyWZtKxgY2Sdwl0DDAntKoj4sl3n3BJP8BMwWApagTLGltt8Zo+50EEK90iC/3SNxKYzyGVBbzOmlAfvbWO2hQ2YxThv9glFKk2N+K87CulITMwQneX9msYlJxqI0xHsqfSVcWLt3B1Emr5Val5ALgpYebxwO/uEcHJltd1AisLmOiGDeJVAyVQKrWeh+MA6K2zuojwrevwQHgHd3MVLevlgqARH4Zh3fSBLv20P8fy/Z6dIXzJzRfkY3pjfYeIH61MaWgmDK1GGkhIkb2xXighEEhP+oqB1eZI6BVkPPxHfivzm6yq8co6HkGIB9LiUaDbjCBL906CD8JLqG0eFIvMruk9/KirhlF+b4vO0rA4xeYzQ/gx/TPuiYs72qVsu3uaF99WHxFwxvz94Fr/44pqOvRdewnU/ijMB2Jvox/qtKoFpBmvOK0skPGuX3GJVJPnjBY15Vq9aqiyX1BghPm4sewLLkpIqayqVXB4EspSeD3Q5FA2lZNN1WSzzsB/gUsfYN+3yYvuI3clKEhmaRB/gD924ecRA+cJXQmgDL2TLtyMsLQcHjpYZEv5irOqXA/Te2EIXAJLugPYHi/5r3yLlIWnOmupRwHaQkiplet6O8myNaRRiHuWG0I/YXz2yMJOdnCbr0+WHug1LTkzJw2qOvMxEocVtSh5NjzFlv2IBBB7OMHKtmzMNraWHzaLJ5PdF0TTOVi+vJql0bvtsmZb1ekQbiSNE+CpTueKJJglxO8+nWvgC4mw0RQSG/+TMxPd/zeTF97D0EvcCqWVNq3wG08BueEgN/y0BqAH6JUAQgPzxdWHxrhbL7pmA1Hc207HG4NvwnZQv5ksX+U0fSOXAPwoic0EjgLcxG98IM2EGu7JW/rCJnrlZ1g2aoHmo0XreGodfwtGuN3tspgL3HvQR3czVjq4n2aEwhOpO8lzdCSu2ODM8+WB3WlwVckogSz8ECTRm2uPRzHJD8iQ8JzJu5TyvN900WU86PLHxLeXbIzzokSxvpFKvHZG/T7zfww4bdMDCpRpuXwKq/QRxSGsk54/DLTbhnxJaNqoIcd/V7kJtSkVQRLrE4B1XRCacpZhyOwMRKmReIjlXLwhz2TAZGpoZic428eFSJKDsKiSg86hdixjBZaUdoHPNBnbGS+oaGTaTXIwCeyYNWOqDZueZTsmuHpH9zKhVed6gJR9/ecro6IrWLEtf7qxHsbmMa5eP5JmXqvQh65uOlKzEE7eHmvNGDbvAAWrGW0/cV4xX098/vD04cDhcv5lMG9rl954+inK46PcLhKaHxZELsqwTjbyPcnYLG6ac4kdbFDxaToDlD4UyJ6SvR2Cv1cZNeb9k7i1euSsnPM6cGSWJgGkyP2PFYEvB6XIH/OmSHpB37ZshbMqSFOAJ9zj/uYKEv1V26fjZ3lnrkd9KkTwmku+tLFwuS+9m540ApaKCWyKBnV8bkt7vzvSXDIwNKskmSgKQAXW+h3n+VwKOKKTl/CnwYyXrXvTzm4WuDQP1m9QfgWCWLNra65dykHqCjIYpM4yK261Aq6g6hrN5rySr0agwAfqpiS/mkKB/53tHTxAXEnc7pReSS8uNs78DyKUjqHADFugcWkaE+L1m/7F95z0GA8oy9R+FxWBPj7munJZt1ESyMs/SPxmbWhtnqXP/jbNu9Cpau1o9IlZxZloALCmswjop3cqfXsVTWiw9N8O5evtRhabCzP/cAu5QXXCo1xv2JMiM3Q2RZdlfChuOMPLk7ipt8vMVIn4ewtvENfHj3lXohltJbWMlDCkHptYkVvsvO7IqkybOu9ml/yGGs7LHeiPC30UrlIhbIuV+qejehPlilr91Rs1nj4QXMTeiCDfamBcGnNOqkhm0uRTg9eMdtmQESe7M2zBqnUqv8+HeOrord3TCPc2Aottdur9dk8vuBO6giP+FoX92pbSnkhNU2Q1hcEhaX1RsZ4A36ojIGN9XW5m7Dj/5IGtbLZYxzqTnzjmOMORltD8vEqjG4TV4uOcTFfw59ZtYlO9Teh0EHV0cl4/mLx29Z/3uMfFpa5Eo0tQyCYOAL9WArKYTWBPTOial0plPYzOjJZqK2paMGwePa+8SL65MyUk8GxUKnpGbYDiqhnyBo6BRdZHRJSV4p+CoqqlWwGJXicTl7LrX3Pb6FA43p+SDn93AZnDbcn3jB4QnkxQKX0Vm5B8LGepYo1ITemMeesvQdt4PJwhEaWknh0o2cMIZ8IWfTX9V1ZyBRUh4JoiCCC41SOfwe8N1TfZIrl2ZpIQ2+axy19iZetDuqAHv1gTXXyOS8PecYAXf71XDiNIQOw5KJZXbF46Am6a4shHyTP9VvSXMrsrWfVSuUTEADez4PHcW5Ws+OVW0FNy1dOaEysnzwj2Em7RjGjrog2xJnt3wvG17mGZLI55FcP7kE5GMiVA7YJQSs5ctcFdIc4tOPLfOPszqUsScogwdP383Tota2x1m1veFjhuF1e26TtubN0j5BjfoLHY8TKzEv1D3koovaGa8ZVdgwkaANd3kvQXeH7gUWyuTMzfUrwdeEk9NpkDUmo53tvYDbhJUiH4z1Eyn7NgV3E0NoFjjq3TXJUMJKqJkHPKQAUiisrvB+IpckzcbMJA4Ii6u1rzhiom2uAbT8hOhCv/NuA+zNkO+73/yGM/ephGDG/Vh9t5QfB1DWQl0upyMrNk7XLY7hvXz6nmXrz4qSDsKrWny6u2ldjEoGJer7JlrXPbe4O6rv60SSPvtLjlEYkriK4wvYp8hhWzosXSuwCVXq2SXLN6d2wPhMakF2YG0t1yrtbcpYZT595NpoMRzGU5d9DpdA/+bshH5DI0e2xj6/fhIjPXe6uymsupnxFzCO7diZhA0oWFECe81vA62tvp0uaZpaKsSdmE1U97e71mG2cdorBSZ5t3REh8M3o2bYBpRfGRz65E1aNTLsNsFMlg9hCaLJ9PtvHpKk1uUPAKtwxYkeHBhSa7+hqnLK+MtzVlbCQKJbfZw+G3tDn/EfHIYjz7mnqHbKW0EeI5kikUcmBXYzR0vBTdZaYCOQGAXYaSpyI/xFNMDrYNrqAyB2V+TaXcDeKvGZHFEuhEOE089Ktyvay1J9VW5E6dqY/p94RGCO/YSvY6CGHdYiPs7R8dXifqaY9CyUSeZGEoaqyeB3WUuDY2jIbkBE6T5oAU+Imic3JQhywTCEymcOfY6BHLdayJw0RfdhVl7gA2N+WzL7WFcJP0gwYZ5ZAwG+jbKSFSSx2L689np2F+WzzFtygrIIBdf+j+GJI8iA95qkvxmwmq41dkRyotipNWrvx36X7FtJioXjdVEgCK9YtrbvOHQagwhCmwp3lFlfxDDKzOa1qV2MzRXiRglNXEV8DrIelYycMiEA0QL2yjR2PvkV1q600sBDm9rgXE7oAkqkb8F6cANnuXJ88Am5OMYakDZfgR3pXcs76/GEHaDUcJX+NyLqqRgQVUjDe3AYO5N0zN7KAM7e8c+rL1gOHnH1PWNkbMnNGTLQ42b2MH7dbOm0xxucXMgVrJZwkJwgNU9PyLppx57keKDhKyLFUtj/kSlXnn9fky5iCCOMObVrobd3WDXBZQlZrez/zCLiK4PpZ2d12kZ4gv4Yo8X7fo1R3JjaKpbo5x+1nA3TWa3Vb1DY1kr9fAse6B4wnmkjiY0hEeMdy7igj+uhzdrgeTTLG+9eTtQZcapGH7AZsYNUNcCwG2unZRo9TH/bTqqNizz0L4BKrBXv1UsktLmPQC7dwzT8b/x6U9KTJ4QzuhBeUdT2yIKUDvCfxqwFc9z7kLsfqtTi9GNu7KcHNOp0fqFD7ZZQ8hwZqHRhj6rsVhp7IAxKGa6WoxTwU8gFcKPpaSqh94PSCAy4EhGWdbSqkfsToe7kcZfulTfagtPjXetfA7qZQc+fPty1ar9PctceL7i4ljXwRGI5Py7CEj2Y/R7i8Odoy1XCRPvurEmAnd36jnERpp1bLuuglshiaj9oRB3MJDioOmCWFIFM+taOPy9m0ERplAJnXbKonOKQ+m21Yqy2EucRurB5cjWtrTmWsYzGRznl6VLABqwpE5jc3pZDnGJHQZGbikGniRbIInsuA2yWSGXpxwJ+aC6iO0beKPcmFrjCpmZZoz6k/9V0h0K4uvMrOCTt1U7v/kX4gOMgwAvmmeCizLk1ZaOv5iqbnpER7qjb64BUPChqMl+Eh1MzLbWF6GZLs8tO8o2VQnRLt5p5v/NHYruy7ZU5Uyi6JCIMK7ZX4K0tqY39UwowCojV71VmpGQ9TDBnvze5tjt1GtSgHce1vKsVgvQSPUMhPdvD0UloEHaW3aaUcTJNXLWp8NrYmF5GsFTq2pvh71iyYDin0Pezwaue9IIeBFy8iWNDyaFwRBiw5aBG06pJN0U0hHNSDkQWopKYxb84bWAwx+Jo4N4WEaTvtwVKOBLwC8wFP0UqYVl4/9LbI3PATAzxs9b3vcfC4EOnnt26Zz02vuZrK3NLIn3EXg4wCJ25vgHcajt8oeX06hFXMOOWn3hKXIK+tv8P/5O1PRmK6o8aFW9PwlCknxWUNk/AgO2vjQJzfU3mbqW0opc502lwXmXH4vYhKQdSoL86JpQ7Ql4Bs6J1/flBA9z685K+K4Xj6ElwryBW+T6jyOGO85xuLiVyC4Jf8pe0xXQ30SDgfxd+71ZrWussrWd+0vP2YDo463Pj+NyhgQ3lZLcp4KrKIx8YMNLcvDwOxrLtE3QDhC1cZG9sgVyRMwYmb1F5QPC9b3hsWSDlthRCRQ0NUix34xvb6BCTM1T/x2QAEg7XWdEtKHEUzyI7q1QrRkDolqqZ02kln8rxZVwSYP3y30PtqgmuebWqS0KIDXpOxmBEi6nCF8Sp6ZtDwVIuE1iVo7jdpZLGccLREvQOrH9nPdsbvgX+0ga90FFakKAvHJ2klPr0TXmCOqBz0g7Mj7hrNGJXu0j95wghk8FVp2Roy4ab4//0pHMlLrHgbCQCM7+LUZKSKQm1s1COXpFrDY13X6Ti5NTELs9Mc+FoN8DPpzsIClZfDuiZF9eUR69dCeAjRh7PXsDzuaIUsZ4bYfq79L3umVfWopYDWCG3zmoZDyk4ALzq8SquOyqjoNuYl0Ecd5V0KSoLs+vKGBpGohzgwi1qbUqCyw8n0j8OqGIqtQxR83XQ1LOY/pdqUUMvw0RNmUFuMGC8fniss8ChrqP5Q8gLYGWzIVQlXCoYjiMDK631giLpOoGX4iypYuXywti0K9vzVdZ3y7SSKRvZrkLU+IhCXUjTzmPagvn0GXDhVryatiKe5EbXVTSwb1HwMr2UG60KYNwXXvNAgkL49pxwTdy8dYEirJScqMM4dOIY3i/rURWm0DBzUyRxh1nfRD0z0zTyn4PpGEBfKAIWVAqAJ0xVa/Djs5CPJwgs4c+J0TBfsQ+hI7zroHmGNWcgoZhgNyBR5Pj7rHbGCS1KUR3KI2MFpioy8UcHZ66dRGonYwEOCCVtk48tfv/G0RjhV2dud2el7QIaXx77h9bOdNItY4EZCjjYFMMqJiXrRJjMDMdw3dVNlqcFCrtoqVpiKIEGAWO7chn6jjuRZ450SLmucENN+bzvKnFEXVFQ5O8UWUltvhUGn04+BthOu+H7fjXmudqN67UtYshb/N/mzdEUPX6+iC9/CXuLA316o1slY4h6VwiOFLNR48LFrj8fWY76/FWNNrucS5vepglZmTNFW6EPRgqwtLWdkq/7gmgXwyTwdMfZQGHvztfRi6TFBzogCDC2qOaVq+27UkGi419/7UEEzt08mZoV4SJn8Qn3WYZZN17ugScNkKJcuu9qhAIjWsc/us2H/f4+gzftS5E6Dn5Uyji2ST2Yew0IhkS1c7WuuzznGSrq6N9pbKdBPcDjZ0YtVCaKyhq1icnC1qdsS2x3RWc30OKnvPmkI7Nlq9QS9qyfOp9Wei9BrW/arF40qsTdBIjz+RQlxK2QbaeablCX0OPz4KC4Tl4K828CmWCrO5uBD1mfYsAbccQLHS+faUka15vi6ikAfqHPpYv1lIeaQAVxZcAa3wdl4470fES7tSZoljSVlIKzBhz+yjopci3GhidXT2G5SjDcDIJbfC5nVhiDfhNXe8zyCCquPcrRpuvhi0mfnoLuqboQuut5UVA8wCZ7t79NXLxI7QGf7lyfLwwEN4yUAoFUl6cW90gv8inF70CRQ8Z/iYquPgX6CUBdpCUIEpdzwxu3XNxb7LhKBEvQLvQtIQ5rrUkZOAgFuvhWNCMuyyPKQMlICrXMI2ud8UY6Ruik1Zv5d90gwxSzAJZK++MAc5Vy0rLSEY1P2fjQHCmBlJHVtVmMlJbWPfnHTv6gI/Ikbm2fHK6DnNlCX7iCOoAanzqCZBpF6koqjr6KA+Jv390ay8u0m9Uwp/zA7F3DT16CN68YnL23XC+jYX4EReuwNfhvfpsw/e8S77d/bAwcjB701sHSDyDeOiPQX07Ux9gq0eQ4EHr9+MLb+qTMryF/sapWLOYIJ8RDWOBz+SRh78OkAIeltBSniDrOUPRvxCGM53NqCCOmAWBPkAZ7m/Vbl/IEvk8U5WTzHwBBZOJwFGv4gXRW9nsKEWvrsQScr6s8fLYaVvF+RNFdfe1E3qqWfKQyryGjbopjw0CCy1BTMWq7kRYMOul4YGYi2qfTBBQTARtlOia0628KXp2raz3US+ENUQj9SRpfzc93bKpNZJC/2Zw84PIasSBzC/VNJ8gkgSLXGoTZxETTDgPNH8h1knSLtQxN3cr3fqouHuosrh3aY7xiC3VPRnCL4EDYeIvaFuo4h1gKSQNhFsWiKaskeoc7BWiRhOWsiY2iyz38TA7jkDo6vmHT5NEfYwcIpmM5rdH+0A02no6CEUrtGC6xNRbFCE/1hdTtFRWBCUCePZfjNy75GWpKyM5wzdPU6yfQsc1kzkQXakUTpJ98/sLGaPowWpmryQ/VtpQVzuM2LsePgq1+KI9mi8Sx0RGMmTMjydNKiK8YYOc4PfNuvB6xeF1vZ5D87RGqNc0bMiwTMt88GoUcRIdx9pB7t8XUHUMvWKVrUJoNtBZ/T1Na8bP95Y7iXd7oj1ie429QEyc9nSGz9SSmCvZA43XzE52e6lQ0gEo2SRLfS9vFyqrsH1ptsZGXYwrLGm9/SiDQ0i/uEoW7gzNmcxBE4ME3H2+XMNy6/CD3zCmXPNfNLbQJO6wZUZghc+JaHdsOUa6UhucdsIansfCAYtF1DsGaxq+j7RDdoV7/gBolNJ2yP+Cf5xzWG1Hq7qjOvB3VCiUwfDUe8ogHY97TOdlyP0p62z75H0K63UVdZJrn1if23iNj3IpJZJxRGzCYxtsVC3nTq/hsnxymQab4i7PPEY4uNB3ef6EtYD5W5RF0dSwh7uZGhaMSvhxKN1BOzfQEB6065a1vSpfQz4IZilvIG6rC6QXe346JJ6l/ymYAvNy9QTWgvC4HSJQaGCZ6XSZiNXaLvlCtdQVgp+MwirBnEWEx2EvdAbBZ/vrtYL1wf1iKQdB3KfjsfdsvAAxeZ80iNybsTgehh6CJl99hjOpRHzbj74YYx584gmTuXyhegJpWUFpAX88eKqzZ+ydB8+k8JtPerkpZRWrf2GppvR4XyO2s8mTdeZVMBd+s38TNw65nvt5IyLqIhtcjxLi5y0pXcU2EvEnMay7o7x0TMBgQkW5SnPzE30NdLpfd7B3VbVCGzlNUil8/XM9xIy/DvpR5QVvKobv/BAUGRDYKF/K6mAry0PPj9luZQ/uGOyvU5t7ELBH12WcwbkiLaCo0/DhHKHDJrkFYrPf+Sxpgjg+AGEdL54AHVOpJNvN8Samqc96yVyWgFJg14juplz/mVk//nYrW5aaRj2ZNDJ/Cp0ejd/SQ3JJCuLGdNTXBAcX80GjTGQv4sJzckVEWYlVbTRb1muqVNSvku0TfFzPBdhaW6G0i5KJQz4TpeG/6xZH3Yc19DLh2XAYkyuovhYuVz6z34v/jvMiwRE/d1Ab4XTXjlpro+s9n3Tq7oic2ipcs06ib8pRdXHB3Li49VF7NXI5zZCvpkEPdrOq4fUTLzfnNlU3LB5OKamk2kX4yLe2vigRXld0DsmM7zt2fEtXPNYZ1/v/XEtAFRZRV/I0WqI9eMFE44Q26w9apOQXkBUjrvyu+Jf3ZurdkkJ4GiKVe2Fy3OP3cZmLZ8UUec8VrNoxd0SD41ActISPwEQKN+4aiT8A87MoXu3R08ikrA3cMOrkl7i36qa9eFqzE8HeIBmFHk5A1uzcVIQwk5YG345TsgsjMleMDF3/VmpCECRMeB6gl+BnLr6wRjhxCC5o0X/reYx89IUgnPya1iw4MT++v2fU53C/RK99gIKb3f/qxemn18monIx33g/C2rqa3lxdDF5e75H1mq0e5G8Y3/9N19ta/YK2uMO3G3qkf/zGEnW9WSkEC26fSHhFy3bNcw+3R1GxhyN6ZlmtlTL8MV3i4je6TEnkj667ZPbSyGMzLK+/rnZvwP1AbWi12buWgYO3c1M9YtAj/dHids3x+J+kSzmE2m8vsn0EodAEnXzLcC+FJD6iykJgI3WE3uz4TYjO6AhbOT5Hc5nKshV0FPP4Ay/1Txb0GQ+elFQ8iYv233tAT13kxlKKoXXjUwcvcaSVOHgw6CqADktpvBQotV6bPBOH6sFn14HZiEkJeySZdxrv3lAGcBlhjSbrxQjLiuRLY8o4JtEZeti4GB7h53FMKmQUn+qe9my02BIS8UfpXyBdr00AjTjRztDwy3PKvOMwOGHR66izya3kpK0DjCiEzaAyA3hGHGawp464rLEVnrlkFE0fm/5FyYDMZ7XuqOLvtluyTm1mYCIie9RvDFBUsHtiY000wcPYCuiPmCNE8lNuhCV1HCJIYGRmZaVfaJzFiO8atf/OIiGC9XHj/kYaGC5wC03g3jdAiddyYMu7cIoNVwp787O9wAoX0sHKXmIKKhKLeL0Zs8bJsVXo7CbK+N4cxfLVr64k6mzSRSzgij014JJE504qUsLlIyS4EKRRWadbJ/oRSp3Py69PWBhqiPRbFyMLHsoI2etEtVmZrXV8Qbx2FOSGqMkxJDzAOyXA04rhip5eYjJOOVn9gCsccaTt1lVSpSdKlUT7XKVLS60obefDWH/7OKKfr5+krO6Wz3MGdot1K712jLMooQwGZTWzsnOYDq+qUmrlNq6ry1KWbaiCUjLcDzII2//MdwzHpT4HhN2Jpa5BNsgC9jN7wuKSgYDvrQV+aDDLhUJfogSynZKojZgyZ65LmEitc2s0zRGdYqamZpes1LEjWEhj1A5wBp7/70fn4G1ygDa80eEk6943iX+LbFEmBUErkkmi4mOOxXX2/PwU6OVIlvMe/oSNG911mkwowmtTkHZv8s8nhpiF+yzbi6XQzRc4908RE5XVUjzZaxEhUFEkfvrnAT6AhLegJ9BvvRXrjjqe6iKDc7LlMUXETFKQT7Fl6hbEklgxKYQyvu8sbi8KqFSc7GYCZozT2MmIyc9xtLLfClGKKWIlfwOnp1Ks6gA4WXKiPMJqSXp/Yhzsiox2PhHRSJ5E/GapzhLmtWvXmHAcz0M6uogEbgbNDvG+pqpOv9ctAZ1aiT44qLnSAkDBZ5NqmWR6JaJo5U5kmiVSgnuzYJwnsDMa2o/bJtBIk/Lo1JSgflkBjKhAXWXQf7fELHaDyZalQDbv5dt3SnzBPAHyC3mwFv5BKc+CFA7uIuwj9qGRxgIfmL5csipz1TeuQ8P2cnHAmBbS2eQS/B/nRIf+ps2HB/ELu4Z5McU9F6fvpLhf7mPEk20B7j2beorGWPiPf3FNTmPgR+vOcPbaz7aqhfwcqzytw/pMj1vfJYUL5fzqiiS3dz2KskFZya8OAQ/wbc0kSj/ymBNiQ/TSL0Nb+sdOLzdp3wJphMrxxvRWErBg14E4YEo3cg+cNhcOl3pYJPoTUj3wK9CzA2gI94/NRtNB55KboSC2qYQJyu+zKu+al+n6J51SUxKHpxLpep1X5PG5q0SblHXdRrS5H3p7z+sOQUXN7Ctgoqfpb8KxvXcVY5xQVAs2/khRgXfF3+MF/Ygq4dqprFw6NsLUTrlbCmGcTX9A4A5c1QeKYRP9XFQLYFamOoz/P3t0wSd0Lxtrj57qzsO0wgG2yQhV6ZxdN6OfZFuIsig18Sb4NoRPWe4W+OAPHXv3y2iQsuzvsLsd/cGKzOd586fDpTXFFiRPoGr5M3gu7dAsKK9UGp6xNcR703eO4S6RSeV/NpuNTANB8kLw2+NwpNht/wswizYPKqY08nAOkdrQN6XX+UenQk6BF1cjlgoRqlPd4+peYaEc9oGcWGibECO1mJ0fCpDp7hGSssjZNwRQigU6r58dTtNwxvMxxkvLeHivsau8/dw8EE4ntBkTIGUrB/oDjCvBX2UkZlIVYlRfO/s2PTNNtbjQUTqfrsuYKsrkd0sWyXvIrwPoHdRBh32AGQN1NJtoYacQGqzsNQxyR80EUC2clZrqoZtAuS3o03l2rkywAqDCE/EHC/Ph5+sm/fcSTfjuTQqljNYxkAHs5vWR97P5F0PB4QDRIf8QXk9PmgtYYhAnXLmNhBLzRhn75STkzxfBuR+tlxyLV907h5d8m3oK/vocJ7lX9zUnReh/mc9WDixZ0GTbBibs39dYDrsvjfQxdeE9Q0NMIcgSSk3QHSGQMeRP3EqL5L1g8XePi0g32MiNIQQbUVzopycqjtoHnuY/7SltsOmfb+aXhsOwIeriaE9hYNpmVn0YwgpYn0UUiYKKuOAQnjUyI1oSsHYCPHlJLh8dbdctithS9ekOHkGcLc88e/YJ4lqnQgnvZRK0mK8ln5pfnW43ZtZrrWTO18h+yrgNepE0J9a1s3QaGTU9x7pUk/SANJyOmdZMrGeUN80JGdIaaiOqsnLf795N0O7j0+ScFMqt0YvaOyqoiBlCteTvN7PtQpS1cfghkTJnDjVH49VBpR5VAV7JlcWDWebcBWRZMjq02cO5Pt19gd0fbsccI5ajMFWpKR0COVUDbEueapvXJMywSuZrqsPAvnmzo8gDA5C+KdN+K9P1SeZ7hn4XBtcQGxhjmoPeuaNYKdOR7FpfmaK5LMHfeZViH33+PN6N+ta1MqV6Kau124EAR0Kt23c5u0CgVHQEDEX4Rn2qAfhjeYRiJDkcXsITpxFZRrFZn3bf43bhwHNNvbBY8sqIVk0B6DDD5kmxkIQqHdC7xyw676lWqF3CbXVgd2SPKToj/fQoKj83D0Y6yu8eaWyavupADUUnuYhu9CaqvigSrKrJJ2MmT3tyQHK8PgWZVRnoEqtJ7qGPRlGyiwkjXWm4ue2owWHv25w3phPZHaP9TD+yu7acuqodLZXAeO7p5LcOb+K4fsyEZUYIvaNFjCtBDZS+ZtLeAovodOw25DEsuILoutumQoTSO1uG4xcQzfuqyAB3BC4e1OGOH/5hmWx285Ksku5DCY07weo9tXQSYmphKg2qmjJr7LDlih3c9tt1u5AcL1Ff086yR5PV9iCjvaXc8DizM9Xs1v8ClvR0Zl8E+EBS7hJi7TcO3Qsfao/Zwd3U7yGshZXycwmsbUc9dI1JZlU5lxzN+0iZhf1152wwNMHjiKmZcomXv9MW8Pn1hHuav9MLMyeV6G7pFuSd2rvvlUJhYVVqZfl+PR4MlBUqGL5R5wVT/1EVoG2GgE1ekbNVPcZZRxmI0+KLtLmPp3xSvS6Dugsvz0kR/ZpidZMEJ1CkQENFJ9m300Ypg2UOD2ZvKhA125C7qdLDYSiKW/NcY6GdqUP5U07Q+VKJz8aMtZPN+rn3+2e4I26YwTeGZHgAh7oHWU1agXsisF+nqyQ9QEobRgQLbKuHctw2bTuBsFHp8o/mM1GCGu0hocaok7MKnAmIGh5h9fIb717yNC9RxaqsrdzNvcwz1Lm6hLhUiO9hDCELwnJSj4HL0wwcTZ198EB5n6DG5cnhfE2RaD9iUqbejj7v68fpyuenEOcQBo3BWvIUER26HmegG6Wwg/9QDO2vIS3/p7DjSDcDbwJlBLOiT/FC/NTRKmcE8pHidiZ9IXwkx98lJsHvK9PetYml8ptk3Mdsp2uBYKuVPxYsEjzzDemuG2Qw9tBP3lpBj6uurAajvVliVcny1cWxRmRdpvMsRnZ3u0K8ZulUKxhygLauNgj44CTAdslwg+d7DDKd3gv2ALMudZUK3i4sgbO7SfwRFG7kl/Y6TEpytx7rLnpdXvIHEg4ljpLjJ7AYDCDkm7CwNhwqFSoQZo+EbfNXgzv0c6jDUY+OrV5VESYlIqUQwCsITFlio5ayAEWxxqTiP0J3l/4326uYFlundjVyGZ7l+v2fDJd88u4+F3QoawMAgCoHXU7meXZf/Ke0B6CEKfIgXL5qGdd4woBAKZ55WsWpjjmTTDkfHdaJLmBXaKQaBvhKubdvpVF5Ek419//geUrDNgg8si1Vbe+Yg9HlvczjxDN0lwZUoSj46STctQvq/4pEwu6B37bxQGscOAu07ktmkinwlLebq5E+R5Uuvo5UeS4GMK/pPLVC7Zg+K4qCqtpmpaR6AROOWRBc2KbPInqj6Zh09KcbBea29kx90XrWjWBap7/PW5UB88HAWeV72FY6lOLQhb8OrHlLn46psrficbOSTGRDcIYXruCg58h2SPLpqhfQRavqTBZ+5AigQivl2KikoLE/9vnMi/4hZc6B14aiDxKSoKxpPV9m1gCFq/w+5BB4s6oSgxLAxGfXHbVLxgmRZfTGC1ULKXJ/m5Qni/l0Vgmhqyv35TGS/0+K4ThbtCSHrAG8XtvrNcQujQ9ROR1OfDnPe1lD52d27mpP7CQHMOG86ig9ugwiGJ3IpLWNPecQowqfsmw61cIzgsbcyh+doE67BUGhRnYvIl/683nP3i4Bu/hbduTL0sAOuo4eKej9+7Xrilbrkj6TktKVtoD8Q0FPvl8ksI2Vd3h4JOQBV0vrsOiIOG9jrl/aojiokHcbCYDxOJaVCVnk3lRubHZhRcqxvFCg1y8KQwc39Jff7wR6fyXTQ2JasxeWL0NASBExB3OL6+BZEByVmw2M/5AdrFvmZ9oNWa3OCnEptZ+a95Akak1GBb58JxugPxEbn2SUrUnIesJCaq8TeABoxON6TiYd5r5wyH9l6JGrMk2rJZm//m+GiYXQSAD2LmOaduJJm+D5R4Ka0zTtaJ1wb0U326LxkXJYtS/khjwKeji/GquYc8zE8i9XJKiXi8c62FS6GEIuzd38sbkWbqgpcQGqszbR3QkAy+BzMErnp69pCi+pSTmMIUDrKLOLvOfIsQPBrchDmVMAYA+F7qcNsAw2plykey/JJ22438iFhlpFtCgwO/atWVgN1LDfHMHlKi3wztL3JFXhy3JN5jcOv5sM1rxYihkYyL1vARY962aER9uejaFUEJ+F/eJnEXVkfQpUtK/wpsQcOdCP6Ce/tfBZfgLhXrolBOJEej17uQh4ATntlZB9DNjqyBDzlftyjVOXROokjDyWYJLpKVKfyiKjffoaMwjbNUbOWzevCfNC0BN5IJIp0yDERt06Cmpwk0j4QF5RAZn8kUQqVJMClufqC2h/WDk8ATkDROIrxawNdbGl/ioXzrjCdn43qW9f86TmuzL2a1JCA/TcAIFO4Oe7b2tbWByrKaElFJaAtL6te6wlIcY68g5cccdnCaeh6lkmKRUnaa+lmj+pb3XbMTTrgF/uCTxriUI3lgFXe26Bd/oqTnrfLXgkeM6C+FdroWEqRrfi59JBO/fkyB8kEUM5QtNiDxgNWo4VtPHgTOYgFg9xSaX+f415O6Lc1u03ZnWd5S7GTkF+AoQA+TDnsKE1GSwsTk+9iA6NcMiwBtIkXf3lf5sRn2NA+8YdQ4+KY1gjpLFKA5T4AjP/usKLtw45QB4R0rQ+iGn4O/Up/WpQxK9oZRcMud+TbnRVKe1jESIALN5RIDmJQq3/r4pgq219HGddOCH/KPmCnRz/xVTSfCtaofFQftHc+3ruf/Eut0fb0EJq6m2RXrBCrCnT6xnBirA3ElPBxarQCZLwLK24o/fzkcx4hqqT2m9qhvx9pz+N/QvXqLdspAXSbf2xybmFVVMcT02EZXVfVDCGuPAzjjGC0BUYe3VAx9nWTP4mB4P8bw8jPL9ijzwX7I5DBa8IdIJMD4pdDUltiGz5zNmpnKsqu0ZUKQG8n7B/B4aV0xpJJaFUB+6/vvra45yWfD9BVa9qUOZ1uwrM8v1wyDYLMF8uatLPnrYTLnJRbx6/hMGaT1WdX8d2k8QfN6PSfw8JeXMCLV74xT2Ff+wwF8QwTgaLT3Sesd4YEMd3yLowN1gzhUFjrQcr4Qwa5pCgzZB9TY9Xifd23qZIvQqPdDgKx3iT2gzqTLMvmzttRU7H30LACWE79LlTprbCGigBtG9yEmCWBOexfNcPH03y0Thtb/claESTRUjhJj9vDQZQYV2IDKLe1tKcji34xEuTCtOdktlOoXVB39GwcNwmW+pFS/8yMldaRs36luav2dR50HvPI9r531LVa0AObbYIgCtCOGBqL4YKdK2EkuWYynOZD6UD/LLhroH4RriCgpJKuSCVcs5ISeSGAlPFA90FAywd3iCx4aRnxlZWaz/7zhJBB+H33YarLvJzvTOeJT7l37bSX/awN4OwvyPznnrRqtJqat0tj5EA1SUWBAcxFjkUWlqzNqsLupcsboNvxsH/bj5KJnUfgJx6F7lO2FOMQEiLygubXjek4VwGZvthylEiX/WeeE5cDKGB/cy1Bm95hFCw5H+2vS/Ja/FhBXepWPMJvxJd6NXzThapzKmYTKcZVBVNcYm2pzAoTi+JF99N6YVjPAIbIGuohhS9oATI6olCcsZBKQ7xBQ/EPibXnKDLN0Eo8uktDvLI9TPDpg9jtW1S134m95VajxbHNVyF1szDgIkurAgOHP10mn48XTDFCHBAoiOHAxCbrqGBA0n6Wt4MHMEg47mzNTPV+yxGgcZy7AtAO7d1783JnyWpy1Ak2rT8wwChHuVmGztZiH9K/+pPZQFNPV4cQtUITu4aTRcnDXReIN4H9HPIRGtG7LwLrtoT2KImWAhqXLcvRb8xZyrz9nn4zZq69tbE94EZkeP1FpKk/DzZHfk7vRmKvNwMEBcSoCFFci5250oLUJiDrcbqotc6t4bUcqHjEK1cj/fzOcA3ZN4dzYLSKWXCkHYdhOqLSU5we01J77m4hZ0KCr0h1w++pcM+jD07XvEI0ELoyqkuBBRbubPRlhVzfGCK4zFId6RFmN9PK6UI0kza7loHbP3uBue2+HgFPp50HCHyH96TRVXT1W8UXFFnkINKiKc/BkGGWYPSJXkJYGCfm/Rotjsi2SlLGvBi1KBdSdVQ1lECgxCVQqFtU6ZvhC6hdKFxxZX/k4CohfoVV94bG55yMwA+KlWuI7jUqi0BNK6FvTLes7cs8aOoimn0q8+WaTi7Qc4ZmIwVGFO7LkVEI45OXKVHJJHyX/RFiKm6rnKQqptgesmLktSTO41XhURFwc4c971eozhg7GYmPIphy0KJjAqrMtaGLsghrmlICFenDOXQnicHYqjthdec1mwZIWQG9RGcZudp7TJ+fBXMAOOJYRlp4b0ViCaE2R5IGC0cmvVwD9PhDhIwxwicKTPVe9e4lMmqpoTobV6jXo5Nqx0AOFyty3B7IMeWFKpnP3eYLDhwguo86HdVBSZYe1Wik5PiDrERn9X2q06ij+bL5nO2YT2nXOS9dYGpwX7+N3keURfnD76xOre5cMw03cfLKZ7NDa1sy6SaZrSLVS83SHw42czbiHQyqZQ54ITbIry2cLadP9PtjPs72kv8quNLNp6LaNzaVMJpwUSocikdfDyWLn0OcPgebHv5DDrJZf/gCeoh2soapbjTJVLTkcyNDL9S7LAAHIfeN3RsSJAI17ddVRSMIkzqxeVPN4f+ilfVg4BQ+isRUidXZQywK1a4/4HZbodXqOOei0uYTMoITKOst5ibZ+o1CH4nMDduiicX/B58d6uXoeaAGvShXTEm/xRpPuca7YWk2X+O14Sfb9ONVw4YTnX7jRPSe5EQ/SV38N55PyuLxMFBR34XdcnsOp4x8smUWggTt6Ee69QVLvpjxd/QOCCHnqPSHsXwNR7O5gTBwfWCB6j2kKjR3fjIBGJc0AbVHWYkGmiecMoOdVj/rsZSAj7824YCLTKwLpBI8ad0+KxtwxcC3dR1dhefGPiHsTsNc06TbayGEDNov9b6D02aZbFS1Hllq1K7L00qEW7CdLqFBkKs2Sko0Bve8cxTHN/UegnNHuZbqmhVyi9v1M9SeI7nNYIUledctBb462lZ+NV3AIb8ZrdhWTbflqEBseCITAI41bjMzs8YZZsGRUG50KiN0Phn0rgP+RzUnWGUqTxtuHCc3PSKiUnarmd/AGjptmQTkapS+Hl8rX1kkXr7+Iwlyc+BmTwtHM6gZrk88gCsCHgEE7AAbh2/u/mJEiAvp/4ETbdn7sMe/dT1jOcDi3+R9DgFnVqo8N6xFs8LKV0AvByZ29PtvPpZO82I/Cq8n3oxi7M0rLTBpzmBeOscxgS0WvioV9MGuS0L4puyxXS2RemwqDflfv/PQ+QjvzofVBrLy5+q8U2JBfuMxYojz0dqbOnSScsHOm/SANKk2DBvzXxvG6igMxT4NI8DQvqNZTVxIWL4HJHKe0Nd518DY2FiILIgI11RafonCc22YMEtt9vd3/UzPi9yig7b4poQcL5waGZILQ4gb3IUnvhdSoWigt3xpTwupx9gw5nStj/5NvGtCwHLoUpB7WW0+6NJu7IJkttAfuzCCRjkOEtsfZtxXrf1jjAQIZjFK+GKXuRGRL+nTw8O2RLIhQLbBXh6GaLPx71kPPHT7eZEIRO+qSweQcmjiyxF4z+j37u1AjgqB9hhZu1o8gPkIxs83bZzrLJ65/uHhA+d2vHtcPK4Ebl6Ln2ie/Ntipsbl9gVIMcrqI2xF8QtI08zaw+ahIOXu9jBJUIMRZ+2i4pnlyWAQhwQWGIV/jeDTuhEML7KasWDVbQUm3xr6XqaI6Yd/KGwPLRaygKCkwVZcv6EOZGUliRIZTJnvJAFZ97dAMPBPrGlb+khZ8Z84jPKKxWAmQqNt/om1pVaWCjLgrMwQcv6DN0cAHdkuTEQLOmcCfGeNBz8D6Jb1WnzS3C/GB7Bs2Xrb64Ub/W/LoTMsmRGytb83VdzUQNBsCUf2UeeHyjTgOG5hnOIUzIM6aUq7pnSdw6jnlmYrABm7xW2nCkd96V4LCwyN0VyO0+peQIUVe895WTXkH6ZrsjsR6DQ6nmsTiKEKUOdFV5XbBVIRlctzN/OHbiok9+tUXWCF+HEo+2RxpZ6RhmbS2zg3a+/oth/hdJ3wFQvWlsz+McAG4rMM0ZXcrNq5RgyHYlbp64XsN9zOupOFy5vGy3iPo9aUdWChkHNagLHvJIF5OWf/OTnk18ExRytVMS6IY1E0fQBvP7R9bB3UNrKsw+r/hfcDVakwNYha29pZBHUmmuWZW5qccrMarwWI8drxij0nuzNaFUZXNmIe8+i2hU6cGe5pOyNxoCeN0KhzG7p5h1l65Ov46DBnRL9XvOpoXb5L0d29JK9VLQdCnVI0og7Tmlp8AmMFVrI6MwRHX9l+vq0hViVbHO53HLCCxrq4MsCsakiG9QYV7ctSMVAQXcwttzUfpPaxBEUmsjeKlMk+9IEHglaBV1KsGuJVFZnb7CA/vrFMstmNS6liRLHcXsmYc0aD7RjdLesYqRGrwTDWVCjDCTFj36tqA7IMwrtpqffLJyZPKTSlqLwQpgGmOoZqX+wnS5YwhRbm2qHv10UPHdDeOq3Mdd5yQRzdrIh+qFb7NaSkwBhzGEELett4o7RZcLuBTmTRvvgLv7LSavUxSGvhitxy3h1+/OQ42BIlzcnc+DrnmvysfNM5X/FpzPgL7cplWegUkPLGP1ssCZ7EwfpNVZuQMFKulotKp+NJTBMfhnHaOdQyi8MLBjI7GAqtf9iAju5yvC4CwGLKh6+5gEV3iWmUR3+FD1TqzOlKNBAcShtAswOtzIM4neMKvJrUQEa0fMvS3/QEM/Ks2HuJhNiPxx67YoFl2NvPiMRddH0ujwB3Tbmy5tvpKpojGz46h7/UdWFERRPJpj2eXiOegOVsZAKAJJsztuUfi0Tq1Ia94Q92mQaeG6adQ/3bMOI81WYMsCBMeZW9b1HFtkIYpwkO0b4v2U35N3LgpUojZyI+oHp1CrWWxC2yHScuXJ8pPu/18RGepIaKETPg4PErDtKcvyDnVVEQoN/X9HLE7p7gd6EeQeiV1RJ0T7OeApbggmyjPi7r4LI33nou/cqdC5Sfza0Mtr5Nsab2MrkuQ0pY3eCHMW8yHcmG0KgRJEoxUnaYYqw475ALUdiTOsdj0xz0kEzxfwNxeHgIU5kdPt2daROep/wwSNDcll2wl+KKCH06ry7Byxv7fZNa5vR9b3ooKbiF3RLNJZlBvd3xUxVvJTvdwBpJo1Olw5R82zw7O92vzpY3KNijlzRpcNQYv9n2As4Gs3UOKPDriSGXy7swiCw8172qdQ1G7/VVDCCv4MycvxWfQo0zc2mud4/YTvGUxfse4ccUIAk25Puavmv2O6WzP3Hv0b6SuJwut5/zEm/fMQZ0fsqNYsnGAKHGI6AjqN/CojFXyCKvkNPZm68OQaxv3UurJN52o24cSmQVGwZaqKLHFw9cdalgC3GX4YM7lrOqj+mFVRQYTlO7qB9Omh9FFMmTPvq8B0QrZW4AwbSWE7TZ3/I9xRhO1MyWrZyt/X+LnsO1Zg+vLAUU8SSJQ3AbioWxIPGkjC+5MFMYdnQ+3/IgVaquABlfBc4PJ9WTFL17rvI+NGpzp3wg8Vxng3cclzv2QG1nRbR7mhDkAGB6ahGKlZcpNa6lAf1VxzYX1Me9cG5rtdqCQHXeqEdGFFxz5ZPXQ6W3D73VS+yuRI3ef/mqz82Etw3hYEIZBWuLEXKQz6gAp9qgA4q7ARK07c3zcxhqMgL9kifLmTs6pYyt8kt1XMvS+/D64rdAR/dx225Oe+eW414cwWAXA2kkl5o7Hy2c1iSAl+opmNHTlloiK48RzgJzrQXW1n3ZC9oO0aMpqZWS2R1FXpCZAluLTP5le8y3rYZ1b4kEAGOGBGyfpyEa6QeTNHc0kasUyY9kr52EWNhC4pXBPtU9pxY+2BZBo1dCmeOLrASk2rR3nTWbmq2f0coLHs2fkgMl9Ln1Sm5DGpCiOTfgXbD1XcJ8QXm47p5rsGCQC4xnbRu+iQ1sKeCgOE+hNB/0tLGc1gOGx78L3nwJ5xWs1TXVSWoVKYGpMz7HSB8/Ia5JtE/A3aQkcWxnmGm8GrCR7R3w0AxyTVAlE48HXj7SsU6poH2QliMWtU3gSvj0C54CcBpUBhC44oGvmo0Ebmh7+mKTFBfS+ZbDb+2mY8vKE4FbILULaO8eOj2sd/RwLQD8jKTNo+qn5Nocw2HujtVzCXSd7oxH1vmL4MnBDmy9/3q2cnJn/QNfbka9V7pDqJQ6B/zyM7LJ+5Y9OF4iyZ7IaZDE6su3UncvLf1A2mQs31nM/H6VxqOFR1GCd6RNPv9cfTnoFKjRpmEBl0RQS3A+/mH1kwXIOOQdrO0dzF/kFzXllLSOewZ8li8kFlVxS6w2W1xXD101+4Fcy4+YiJH/bWKbk//5SU55AQSBygiLLe9cZh3jWSe8waEkaZUq1d83EfXO9B3qu+MFNTDsmn73PmwefIkmIgQLoZFXwjQqv6Pv3T9BB9CgJqr+vaVAsycMk4eCa4TS4vs48eniwFvgKqlK82aFhlWNfHHS7kztzbdLQEjhP1bp78ZBtzzWPj84PxlHugaudiYHEWEBijcwQXGnp+tp/i6+jMkyboRUzIfTvQMukwPiRgie1uSO9p5zkT+zBKE1bY4yQxf5ogxNKCPPA/EzMu7197CejOXzRWB7xnEOnnmCtGE3yOmao0C6JDDxGG9CaC+BtxNgD/8JBodqPaPt+F+7r0G+9lhgTfESLX/540YWfFU4TiKgA6tbvioH1PM0lvSs7DSPqJWE9nR2NwH2oowu9hTbivfU3dlYUfRLU/eXdYx+kFWLxXSLmYdMgKXyohsJGgnc9vQGcCLuWFUGLBY1p4WHU4beA5lByrfqw3nOkGDYZ1u30w8OcCdKR8qudbHwtqtmMHhseFcMqJ8TCNgsFihbYwrr8i/2i1hhqII6vtZGqw0ebXMz6xaze6gVF7ma9IBzkd66BGIfYx5/OaT0fDMWOEfNZmQOc2X3nlcLAz0AZTD2PkJQCxDNpdYbr3+dlqlGtbI/VjbIBzdEor1nLZTQLFxcvGpUeyW0CDQj39qU0kaJlq5xKRQAScTQ9L+duF5BuJMLi/kXSPtdju2lGreDMWywVISFIraTBLM/VMyp/gV3Frzreob2kjSdbVeog6zVaPnt0S5Xk+5+X5ylX60W3Pbu7TnFNeZxYgfyBZUpekiydkoR7jQ8R4W5Je3kzf1NuL3p+jpvEAqbYMD+XndtvFKrnVxWyXQ9dtUOSqsmB9v03C5375h8Pd+n8HM9q8zgt6yBVKYe9x4EQPRevxnX+hbUPuJEMM4AlV5ZV4aUZXcQbq/YFglIsJMTSXv9x/++ILP9Pc30rUeuI4ZwFVpuREsBTly4Xjb9/2cFBnnhaIj1htIUct6PG5MYfkp/obxK34eh3Siu8R8cZogVUcjgLHs9g/5C0u2LBXP+0R2h3cS4Rf2zWMJeXaK1oG1hZYFX/RfMGOuxYvC3LF8p7cTit9seWtLx6Bc0bApX2/Lx/N53P3t/XZrJfja/S+xF/IjGlY6DofSzJnRAbNQE4gQ/xeDQKvV5DeeFHlzYokl56wvdsFa86mfUa3jeC5zAoV7T5C0Jm35RtpLUUf1ODQGpWdIwUoJOePv6+5bRV5r1H0F2qonIcHn44PcpVtLOJsQXuOyfXOFnRYy2t99fCCQ0K/aEuJxjRUjelUfAfx0u+KR4CPpQQCHPQY7CJ/BjIZtPRBULu738059FU+kK+oGRILqzfeKEEVEWXcH+IEUqCevRfXt48NrAgVRj00EZHyr1QqslAK6SgUbY9eYtAYQPqyHJNeB375c6PtZcXKKImJgV/GaFfPNPsbIx29WxcldNe8cG1mjTS7qkhCaZ65Gdh+sK4dleXK59VGQydmaMON5GLnqJzobYQFgj+2NnEalZGvNOp9KWkNNIDOzwHXIfk90RqgbSdGpfFaDLjK9n/nASwbXXQxt4CFovMlGYWb8h5EVpvkdv32niWw1F9TQWcdphcaj0g0nN/ef2UsggsTIJrC4hbrG+5h7uNz39WmeJ48EAEKKZGDt1hC7E1SUhtrmC+hhejUA7pHzKQeUjfypCj8/gyBWGtkAdDUPhUoKrW61OE/vn6VpWEKPAMazt7cwX+RnVjleENTNXp9px/DdPFhUyPgfQw67GjIaWyWnn23Z8bGzGrxA53Ys1aaz0+v+/+75vvbk10L8n7HM9KQIcyuM4PfIk7JG9xaewxJOLkceZGO9dpFoxA6oo59zXywwtlBAVBLlobloyrOeDDULr7sZNyDxoDMx12IoZl1QcNNYs81tJtAgpGPCJpJHACxi/QLpUdyaLpRhAwUU4QyrrbDeWXVxvbsHwn2MEHP3PtG9oT0EWVkORQq1K3xg66NuXhVXI/2A+dpO97iPyUiw989gF3JJ+tU8gOcqdkFR9no+La3p/jKjA1NkudKqdr3942ypB9uRA3ngDplXCm1clQOjNq7sX63QB+KDs3w6Rf1QGttcqPFeGptvPBfB9eLaj6mrLnGetSj0e+EwMyLHbf984vIFDTYPIeNCCJtX11+CJWvKx0ji1gUXKmahgiKynNZ3oCf4maVMgLivDqfbHLhdjUZ4n1smMnLH+MEI4bNvICOujUln/lM8RnQARd1qv2Ukwyp6LzYEPos2kvmNNE35PE2SDtxpGgvZWjDbhPBYwqCnQtTV76OVY+N4MZBZp1+IDHfQo51Wx58WnJ7fuzOk1iVFa31u7ObKljuAmVhUDe+IISFJCqsmJ3LJI6g2XKAgBEfE0YV2MoxCmNaYyiW430c+upRUv3D+DImqMJIEjTS3vi59B9Gh1IssVAAS7hOE2Q8lwrQ+0qX1VQ17NgmIuM8OhhCbJ5Lurj1aF8gfL5GJxRHSkoNX1C0russCHsozST3jaWghs8wQtw9p+SGbXhqg44aEoD9nA+QB/YbM2tv1rEZ5cbJh9WEJHC9lvi2n0+W+Zbq7U/SK2YHEm1a88Jtrot4GtPCGa2T/twn7hRBVxOagDdTNxWRLoPMSI/7hyLA4xHGSxFUjrVK8kY8BvSBlsAJnwgaOxa3AIqMFCKv3xot5p4IzkA3sevnmLLpdXG427pRAcfwGTt5SvHTzrk7wuiqpcw/kyGF9UHrlDAcvzrnMjOXhXsUytuPvci3kU8ACmUNbgIqFINM+t+8RonGRJh8OZRwj+KxuA9RqfLZ6KUQ4cmw8bpHOudgqXVXfhe+OKZrIj9JYyyJzrlgh6cHs/g2mO5WbzVJy9ZngE6Dhpt+BLKR7OrlLGPQa9GVF+Mmrk8qmK9kWJ0Q990N/BiiEXT+0aS5NBLsv/YVTXwZRU47T8Wg/7KRWZd/9uhqBvTNuOwDxMfRs9lZjN4xR4Rve4HqlH+feh08gvnB77VG3DqY30nbjjkWv9FHT5zbs9E+zmJ4JnswbGVkk2hogcmW4WezaDcAdVwTgNNbZv0HY4pfbCpVuWvWfCF60FPIZGa6DbQF2RB3nUMpze8QbPj+m4XK2HA5822ag4Yn/DHGguG99MJC8GlSHsVURAn/LLZVkM1ltS5aJYEw5m5EmHEtksmvigRiCWWr6q/VFeZwBiKQgQxnr35ltDUI4FqmsdxkG2KKTXQdZz4jr8/bLRQw8NkrjMz1/H/Hb1Q3ln4YDx4YVNJOx+Sckw3LtiBrgwL717HBr3z6IO+GYnjJkxrOeeK18BZTENWgoVhG/IR6JCQiK2DNHZRROseK4o+yblqddNmfYtlWn9nYoGf+oI8UB52vkNLL+4XY+CfsJT50j5EYypDG4VTB4UxpYsZ4FgqmPCLglFA+SVCuXALPOlAQVRxphin8kzVFvxbudsOqdaT9Sy+f21eDH5B1QFkXTneNYVmOJOvMNihBkB+TCkQ5VluymjrdM09ci2jGIyfwqd3HuvzP8piPyPO1J7pVei8V7jAdfC2Z5wwx1VFiNc4mH9vSzeCB50TwWvyQY5FszS4KzfRgad2pKUoxKd4e+Web9y1W39J2ttT35Noh381aeVWIYAlnHLdquKF6f+SJbV9ivLWbBlTDeo2AgM8BeawDf3kaV6ZFDAXHEJCUxk5KecOumjQSzRByAlw24ZXUAfA3ZHdzjGAfhW1oqMxjqh9Y0SJ8IK1T568k2eZMCKrBzfzG2GE/KkXjqMo6RXhCR+km5FzlXZZw8OW3JubTHFcvlDfGRIbhxhbc8uuIUeaZJGXlTCUOitUCCc+hUsnIOJIYhUEfUgi5FtgR0jgzSeM2FnzlwDyi79zyW/wudBi5BD67f54evW+LZDFqee9qE+R7LS2nBf9sfNQG99sKvtWyyyU2G3yq4I04ItGP/5eFQH9ww2qJ2Z/DndINBenhdx6LjJcoJSVE9jXOQFuw0izmJ53apfKS9Rx5IAsh3nKlqkK61+szor/pRIeoNI598kidNNsZCQbotuefJRE5taSxSjF0CdMAuOBkeq6Y9dpCQyEPEdIWXnwUZ5zK/HTH6exEpvLSy5dee2r9xsaZYjVu9t5piW2a5UeR+r2D9lLnVa8BXBj76SmsIC1GOuXV7Kk8/wxtLLY7rwk253YNrUKaP09/HSV5JdRlXgXEVslvrbRfur4464JOD5z6oDX5sZ+4YAPDsMykSa7iYs8jkRaD6VujpKYFKoZ30FHeYizzrgMqg8Yfs37sNO4bDEl+8oVv/lPFNj0MYEgWArjM+sL6Lwl2A/EEHScij4Fl7YEN3O4/g349UoeakCI37aJWHJknBBIiDnpLtUtMSqKcraIApXSYSTKHLUEZKj8aInox056LSOm8t2iz+fsiU7o71p/bGcGbbmKQ/2EB+1uWuAn/yTZyWmpkIRtMl2XWpELqZzlST9mHwcDJGyOYNAVt/MPlHJyY3poa9O9NgCf4C+yNWRSzQGAD5JedIQfztIRxPhIWH25rj9w1Q4E5WM0bF8eB1Zr1oLW79eOLg7y/AVD/w8NHPqnjt3aNEqOcnRPrSKrNbckYrQZrMGTstkg81FzAtH3ISBKqa157GiRzhT6yd9syZUquuNeoo5aSCeBjq//0LtHHt46hVGjPM3RC+N8hQ3KxL9DYIyfDkD4WwgTWubRa54Kg95NgzCxMF2IGP5DJ9gqDQBSJU6Px1l5caKjXr1EWWHTUhlXV4iiwE13CXBcmmbhcivnxq0XbldZBRM6ikTl8BYHyM3gg8bCzRGWHzviGkdxaNchpGmA+hEetqE1vmsMYTbw2lsCPblVbL0sBUQ/hI9LeAgOApDiirlZeRx1zNwn/ALjaefFUYI2k2Xqdn3awJZ97Fa6pZCNqGz7wiNGZOKk0MdyLzjWFeG1bcdkuScgV9/gUgq0ADeHaoY5fmL7/2309Y1skdyxZcjhNaLLWmWRSfiwu4M6nJdn4teuK2hnTBL3Me88LWwrWPJ4p75B9jxhIvRLAN32thVAbemFuEcOoO71Vyge8QEW3Y8551TvopeqCvkcv8FHRiP40vstAluyJCl4WbNTaYuROfwCEjhOPOXt3CSpfGXMqI1yaoQZsxj3cuc8lHwglrTcKhJ6krjTdx9fJUCNspFCTUOzxl06JmFuFfEdYID9PXGXJlJOcdsJVVo0UjtjScTaaznP/UyaFsPW0jd1JAWbDtA/khOr6zCxeJ89YVcfMAAslxCQliy7x8aBgvjnCe99+snE1qKHt2Ps7WOyGa7hpHaC2oEBcKBT8m5PhPn8bZ0YHvt90Nyowp2qW/01+nXKr/0ZVCCOCB+Q67P+++v9/cCoawI89GYoI10d+oh0optkqpGL88qPtiFFA32Xl1l7o7JL/31jEQIH6IAjim2MJS8FrbECIdVra9BoeTohmofdBnmt3yb7rWmvE1S0gD5GyoYd1hqoMawO6/ZlD+mfak4qnCg11U8ntleOzNIhTDHnQ8WbBlfeq35ab7FfQ0nGep6AtikMzn9KM63qPPDKV+Tq0X2VnpHuB/Kn6i/+msgYF1DvJJVK11QCEPeyCgr/+DSr8AI8Lwz2iVc0MBgPO+SD+KZOa7sj8zVT+3ny3zzbPsOSBFShc3G+p5Pel43itbJ2Pscmgg54qcJ296FW0XknkyWDxrGMkEjSHr1J9gfhjh+wOKi9oTxAjUeqSBwDgSZye1mioHetO+622YKxIbAY0wfsGS65tZRyQac0vklaabmgQlBdmDQsOe2c+Lszo0PCj7PeT9X+scddfzQ6EGm2kBT5Yj3uEY/6dhlklkDL8O69E4YB7uQO3BpeuaAv3kUTqHSyIn8aAhtFpcnCQbkxmNSsWOWRUMP+avi+cwzFu/AxEuhnx0GibSFT996kKSjPB4w4f7eoPmJ+dJwGA+ZAU3JL5Tcat5fncRmXbvggxu3hffKpE22CKNjHCmcaFyGpJzv8a73phLwrUSMl6ge1HZHQbTpIk/HKjtxU/5JN/56kzabPYhKwzc0VniLTK20LlLxcdXOILYDHN7z5KB+NpCQA0pE8dnrqUvJZHW3fPUECsvPyP1LzItAQubP+psAQv9KT/8ZENWQHOXpDpTrTDm0IN4TL5uCc5ohHL8SuGWdp3ORzKtPYWaEZ0s+fjGmVrnFRFfttxANcDr1DSb25+JFcOkfOnDmZR0T8ukFnVXxuVwmV7XB4+D6luJs5qM5L2AqGgLdgZNyr0Kike1xe9UAUsMEn/+0cef7NaP14j5vFKmxNMHkAy+FeInoVSaghsmwW0BAopYqGL2SW2RdqFxKNI6Ev1/QjMYMS23CL7Oi8PPBqZpX7odQ5AmKRAYJVfrNGf2WCGvpkkoxgwQTRa3rC4Jnrdns3JmxtivD8VmZsY4UJ+5A2vAT5CI7x26miRDPiP3dEEiMHh5XRINYt6CjqpKjJzG4jPnowXwK4kvWUZ3ozW+n44XQGadu6ly2OPOv/uMbM8U+TBEBoG83Vdx2ejrnJCtZDr6a5msZx0rKLrl/gHoWqvB3clY0FJ//65GfjSJ043XVJgojXvwcxsr1+7bvnvJ6yjumMW2kujPl2+g8tVE+uL/jJh/tyuKiF3Ln5qFFkuK9Sn/CnzfuI2vWbMpH5gX6/SJ+LVTlVuZO3O/pnoYbWeDq9Bh6gYRWk6OucctehYOSatScz+Z0EELQvnqerS3glnSxpkk6UGWmf4UWf3XiOjQtcuEBzcJA7LpoHUdKUZe6Dc3HA2Nk+hO0FGXNBcpdmTg/GSYUzDNQbm9eqSpRmCjxpgIRDnlgtltIyuyVqg5NHEOpAq+g3DHVJCJvEHv1mA1pP9T9gNuhFww/T70Pn1MXyJdvgZf0b8kWK8tUcX/k0olQ6bHOaglZ8i86wv7Iz39sWUxGEGP7KHNjpL0ovrT4/N8t3N6Ny9ZYR6uHAOOK9J0hIbpm0lzuLcO+kAnDO9NKRAmK1cieNgQABEaQ1bz1tKt9DOBL5jZ0wtffKNagS+gQD/a2Kx2ONzuvma0dWYHpKoct81FKhG1UPBvaNJv+XaF1ojwWwSXZjMFJUavbOTtzghl7An74AcWoTjgeV0CRCelKKyW97J1cCH3HYDb7EoQsKSxuhX9+NIxLyBG+GjiZLnlPCCr+zcng7yYw5Fe6FYTHcRZsQlGHESAYCa7uMNfpUKzH9p87Kjuzc8EMQ2AKFY/qySxsgL9Ya1UvDyvv4OiHJtono1TQc9s+JtdjQNDJ/kyzkfoWNfQYTL7x7hPEZaY/UunmQEl/f81Ad84SLvGi7oSRRuimthN7R4OQJy71sB6svDL3aopcyajKRDHPpcUWNxqSmPj5wAXNsJmmfZKH9ZN4zRJMtxJiludPRFCLErpxz5wHgl39nWOpx1n4PftYIgAclrCrnK1e43oHp4knpoFaZmET5MdTvUjdwUCTCQKrav2QQR5OdRSypKxUPeCCQ0xiDlVHWPlIVLRMs+bnxwvigE+fQobUrxHkhb/GAAAm0VRq7na3Rm9mUIIwwboFAv7pJN6RSU/6XZAgKbunmKDNmQbGe3ysF76xbgYGT46yrjHJfQSsqCjMgvfnJ1ZU65jG/e8qAcxOgkAzZryKlFG88SGxqDQ/meCAG23aUoTGBwEtncUB9kBQIb3Qna8dZOhGUxhWcEUeozbEBhTNNT7tm06e3525fOKjL1wSc0sqozx7uwjidqzY1RPb79AzFbu2kmOfMeqn189pd05IE651QKQcdDzGV3D7Mbuj8ThW+UIlp1I8ustHDJviQxjnUxu+CJug9CXS66ewGAzH1Fmvdq5PwyY/zBOrpiwAojNXN9V0M3pfV4yHpU8JVtvjej5Srly19fsa7QYnacL+tM7bPP/BfBQQAlEg31YnGyneFkKVhpFe/hp/MczSAEv+3px8/Qk+g8n/pb1PgYp+2v0joIbsZGUQii/QBmYK4P+jPX0v8ehZvsGMNgt3pN6EWaOrNEjI7SJXQ7H+qgcCaYpe4LAmu2bCfaUssvf1cmwMA/yg3u/4t2d2zivbnue7qj2Zpw9GyLvRbgAJuSS+TiWsuYns1DHhTeVGzVw6AZk16MXr7q4v9as/gclULE88LOSzPKLPV5cuGL/6Oc/75vnm67kccXqleOlwT9BI48wfMXgg07sVeItUi9p3WQTpz5xKEaruIagbqyudyOqpP8fn9JG9ftN7Ilm2/9bmlb13LHr4RKOzRaKP7XxszEw10T0VsjNaE2CJyglV5LYjYPxgaBT3qOBim9i6GeVM6EeTFygyLKdHPA+RIuuPmNSMjB5dMnKz7hMI6YnALv/1U1Ty4BwPcMRGajOKrN1dLaNrXp9COqYUmjrS6ibtGUIJUlgvkG4+ZSmWPoAir6zhs4opFEI1va73ajIHrfmqEFkWPLXs/D1N8ZTWO2efckXG0/Z76RFIa0NJROn/DiWsCU9Fqu/VA0bgcV4t5uV3nnCWK5JjrZPra2hI2LerPw9GP6R4vZRDOjFCgua6PtxU0sS/tFZGHe7M5RV4eXBXvpTirh+XmWh6QFY5gy5lfgK9Pt2VcpjeWoFQ+qb2ApaG0tFtUMUWdOTfzG6p0I/KXiUIwVbxx0fJ6PkLHIkeb0kmtCR5Dv4ZB4TCtBFOvgtWVytAl6LNOAiwevhJkamFCcvwOc6VJQ1HfUGZe2TOHGTVLoQ8MYcBhdYxzBSzjq69ZRQmuZvupKslhH1ESrfOZzzQ31+bPHU69YqxbgOqK+cGjbw0TOSIS3f2Uu7b0qMQxqRPoyuXtqsVNk2p8EDwvgK82HCJDOeu5u3idO5t207Z532QFj+XaEFL7iYvZoulgXP9tf0qwaNM7NGpQZ8xkD7ypKrq3YOjp4xdAdh7mFo5lVe/Tx2scFeh4UkBhBujknisnLDxZ0BoBaSt3fBXi4r25CNrC1QStWbwiMN4XgYKfuao74GWbqf2pGyyTzQfJt578QRLEbekYvAAPBHo895OSXTl7aqrIdwrr2iHqC4su+Fp7DLbRC564HbYorr6gpy2vpBh1p81Q9aw6ZFGFr+Y+v9PzRvcmxKvNSsg3PQcIVTmKNHm9uvXxbBTffMuUnmFI//+wZUIB+ddDnu97CJrmK8Ph3Loa8jU4zxdw3HFVy1q15Ii4n436ynGnUt1VqC3AGfmfTKi1rmPeGN1+9ZIOiDTfXjC2rXeHF/0BJQxPngZFd2xGyVH1X6sDUImvnWXzGXXsJ2y3Mc/Ty6fWKv+LDUgtoTq4EFlhaYA449+Wk2NfJEWshHZFY9EEK4ag6nRFLUlFtWl7J5y6l7gAOT1R7nKg2Sm1i8tTBUxkEmwfUyvdgraDVLMjr6v0xWxgpQGuH3dlzGHY/N0wCm6IVruDwclVw0hog9hWorPr24XiZ57/vv4a90gXLS9EhZ8yxJs7DW3vbtm8psRaTrBEl4rDvkuyUTxFwHxZaJ6dAlVoyhrE8YByPkQLn5YD9OzGWf2HUlWK21ZBrQ44J3+/gHMcQdB+/yRmOTQzuTBb5Ew1SJ/CT9Us8lu8O4j+heWq1IoHhDJwApKeBi8uZHjX57rxVCYTZ/sZn94WJWl+1pVQDjSzFMrerxT1gJbBefhVfDDkcSOWd84/IpE/cehyBqk7EHSEiAOwa0EpXHyzmg9ond/INp/09zTxjEXZa353Pl78Xxj/R/78hzBArmdT1GmHitHPygVfCqfRNZ28C9AGzqk76E6iyiX676J7RN2Byh8ef3M3bakJtw2Txpb0TYuRNqUoQrPzH4sbivcf9s2buOBgdPFahdL/ZCRS15s9Yr3Hb79H0pdy+OWXV5Ig05Ti0mYiXV/LuJmCnWpXNfK9ycKcV8hypNywhmH471gcAhowqYAJlgkSIkjRoi3zcWbK6nDNI3eGVTmHSaTHtjG2gnDEjUuQCQdF4K7dZmopY1WlKCWl0UIkOig1h3zpRENtfCcV+1Ha1bjZ3KAdAZNBbZwDguMKAip/rYBNCldWo3bRrpG0fxe6Iw+DT88sgjuDa5ROBAoNjGquu9Rs7NJy4dazrMnn60dXgy2X01YbStkiUcVYzY0+Adj6SHNjCZXz2e0DBxzNExpj4tFFrRWfBLN3wV36m6VICwxTkLGBMkci0gGDhQAHt/CTSwcDgX6aGZcPt027FcMeZcsCYXPVRJvGYArW/GEzTvyueqKI0PanZVztO3SvzUw1tP8geazTzi8jvVSKFydg/4hqKrioOTnsl+lFZlF07GBgNZOfrhxcDj57mnawlCUZ9KO1RRqxqFHsz/mzQRn8ZXxVIzRkh7GnV0nKRq7qAJ6k4wQORQKruFXA/hFCeHH2Rs7rVo3+dO2e6uVrDya6ZuyMDF0Y+ZpeBJwDwnpsm/kNCt0EOomjyFwgE98D+gN1yM7BeHKKlMtgK8/NGhmAOHeaNioG28/wFJ4yshkfoqbmhYRU/PJf6qadspXmp1PVQCdB2+x027yiN8TTLjFA/Zawn0DuDytsf0oHPwy+XU8W7bgO85JqEj+9HlwKGeIWTMui8Ggcy0g03lyqUaljNEOFVIjOm5TnZ9nB8vuzssIpy9zbd6vZWdv/i8PC54EoAqecDdSyCg1YEvZ3NBON9P8ESiE5vR4HNuhGHqGz/+Pv7E81QOMLBjSH+EksVh/xG4IfMxFBUeRwI1GlO5Bw4H+MukPcV+DqmyoKdId/4hdddSO1EnVmvTMoOdmISmWduEZo+uGzr0arshlGmLYw7o1lLeBRQif9Es07kx/bYUeRq0/3smTIQCVlzRHPO7WQCVZj0c76vCIoGvS70trjKL2K6G6IBsVXDSlVkE6XyMzMSX+2qsBgvF+0YxcD1viqaeiamXhVguHKZPlKaSrNPeiCc+ZtAmhVR38APxCWEFyEP3HCL5c9o/jM0t6qApJ4Pswm0Mp+HbyDFiwiA//Pf44gw+WsJUzoaU7kOhTEV3fwVOJjJVf3H5QuImwCPc24hac5CGQfxwB8QUA51fNWdYR6QdRFOXm24SnbBrZmKo8yEMUj7CLlSiqKzcVAYkVNm0MQt/8PH6Imqb208irNXdafjqCbBFhkdNMsKmzQQHWA+AmkbDM7qxkHipVZZYHR7aA19D1xFR8WrtIQkF+OR6KV8TLtQML4RCeswghCV+rHiFHd0wndTzdQSwGcLyDl5aIyw16JDehqgZJb+u57fxlYHO+AhyO3zkfoTLfgqjwl0UZAFOPcrzEIZA8RfUWk5XrawAAfCENCEYqSaKYRw3hpg+BUBeSjIsEad2mo7zSe2ZqRc+ghBs0wTFLdj7GqjDcPyqfjawoadGgJBk9v3DelqsuNzJYIVShuUq/3DxXBmcYOGh+DkTLACV6j/t1adZcA1Rri+hZ6qc3ZLJqSxe9hXqpOWFn9+Ok1xPTCVFgxKHaJMOTGfLKaPShozgPRrBw2ZjwL4ydKcbTRChie4/TR+xSkueAPR46U4uFuCgM0C63xgbmSP7wpegmGuzlIMcbviTGtI8pcQooxmqwNrbo4dMoPeMGFvR+ZPg9wz77oKtr2NbpvZUx9sDzLcRozDoIc0SVf4ihcd58OucnsAPZ+5+sjccn3Y/MC6maIP7Ok0kaXiVMmjuNRKhR9pVhgMEpODw1Lc9L+I60QBzBw2e5LM5ZF9RjzH5EIxNeOpS6VTJBPSjcpuG2Q03kNiva6b6fk/vFXS8o4Bcbqdzq9QfdnI3/RdjM+2OBsLLYifQdrj2+Ctgb/4XsINgKsMMz4h6gJ2a0AiJYzit+Mhw/Ao1TbvP1rMwufnHU/0m5X4cFyyuA1ZkRZ97ythxpqZqDdiud7oC7/2gkB2X2cLuZqezAy5ZS0KXkNkSifDVxNyETf61wxtMgcFVzvcNOQaefUsLBvzc0pqyFe4L92ORSQTj+yr0ZraDvEMoPSAIqUv3d1aNi0Zpi+j9ihxl7ICVeACLOjZN5jHgX7QIqkrZdCD/2YM0V2y4XFJ1NXc4E4k5LV0+AWHas4E7VkFQTx0xNyMVWol5s1hSwQPd19UkI3/0ydAtZApwaseMFyKCXq0G8B/+8GdZODkIgI6keDSY+mnNClKnkKC3XJkfPyVBWeE7aF1dmORQaXPAZBx1RqAKnBrfUhMQN9WfL0ZqQQxwJlQX2tOAl1n246l5Jk0MaHEnjArhJNMbAjG9yE0ci4j7fI2Taf3G50nGUIJC+C9ahe9jZaiVa7RLJkfH3Ymwu907paBpow1bDth9GHxduvZIyyTQxRsqHn6YDXxeEDfARc76GMvEXz+1BgrVxiDP5mNH/w5vbN0ptU4831lDSNyhefmG8gm9DBeOECmVQIH+YcdlVFcwR/jdWgpaw549wRZbN89xEjC60lA0YotsgjRem0Fz9TF9dT1Ivuzswot0ixJRLTEQtG18Z3xod5o+qrKlBx8rVI4zRLPDJA5qCMguM559ErGFblRVFZF4v70mEFe6sChsfVnpdjVNVX74t87dSxm5fJfM/M36oKMqwHDO9vRIgDTKm9clg2U1FZAjX1/aybM3ESnCpSuV98TLYve+H0Vh8o7cQ7FPeFrTWTIu8uzRawtFIPArbRlLSrRTztGiOUPoY/OpjwTQTDxAabBA+CuYB2my4wfmOJvgRZeI63dIidojl2IifOKxrQ9Ki1HyenKsjwRm9DhW6uSo+FbxQA1+2S3AgFM3UAypm5Hum3ZsMbhfHHi3ur4+e86a7g8iu99o7igXkjFOXNQYl+ykJpXKPSn+gBhtreULewD6tVVgBgE4zYRxTrqUxC9QAiI8S+7tZBLccMPaGLa6dE+5xqF7GKusfW2l/zPwcwl8q/sXbPBcPg52EONa25IRwrYuYEJwH8nc+5LzrxDpcLL3HVSYn4KeWh5TEYyFJDPFncSR8cq4H4blgf5zJEb7XCd5GnrtJZOvU/jSZ0O95S2oDvpbH+/yAP4XXpz8mQIgTOF6R75UAzNvdyEAm2PWId3HQifigBb9FTrpg9R+eKgIksMJfepHI87Wjj+ZtMjxvR/EOmZ6O/fwL40uGt58+IBDRQq8N4vHU4Mlv5Kibv6FlaTVYMiNl0x3VN7PK30Cw4vzF/U8LtQoZnx+ZcYNewf1a0AfqwqubsvwzYdb6D/4rJyGUd9pj6VHVAS9Fz44e6vV2AaDslCc5liUDKggNs3wQ/7y6vJqIM6awaI5xHdpPmV/StTRuvKzW4vdM6MmHHHiviMO3N1FRvkvlSJwU5ZdfurlwXf69jIOFS3wyShmw5ShpDmHttMcRmOdrzioPB0Hep7F6GHnQXRwD4OXUMwnbZzPAM/bSwxw+3AbU09LYNBPEsBACkNh2ZiiwrTSgBtP95bxkQXohC2XDRcSnBtDQDLNJTOHiL+rZDMFATaLcTmWzT+2LhHNleDfHNGfsgXreHE76O57Wtzoc7w9/bMG9fLzSWm5T3wry4a4WhHmrq5+tmr+SuQvfU5cdpPqNGUtjBJX44sNwmQnruaVRSsdp++0wm2+j2qoVI5sg/z57qAvz9rOfNNrbYBTjYrN1lETyRUkdOpu3SEFGUPaArqgDVJYG7/oRvMNOUJsyWlnP6Hq6g5yTv6PF5yrFMcmkJHrjDVXfYEI7qvvJ8gxMtkCvh+HnRzhndiRrFw75v3Nx5n794pjPWFNg18DsD0ZfHjhDvyWhrresko4LKRJGKaBI2Ur8So1BNAc1HqU5NAzAydp63cXuQ3BdFAJU4nARwXLoP1uLYV2owIEAFjkcejC2WKpDpRydpj9BYKXDV/M8Az5IGQQzoQ7UIYfCGPp5HfavcxRU/MVt2sxb4ouUDU6ceuwO+pcZckgBDM4G7trcxJVq3aZzM4lRFhXJwaBBOPnjB7u3DZVW7+eNG/IDsnuo7HJvh6GMUcJSq0cT070crXzDlL6rBVGR3IYiN8rTXhEu3+FAmjZbGDjAZT8w3XeiF/bBd97V0d685YdwEevih0nwmEVXN3J+rd7/wDEyzRsjkADvLSFgTRPNbdZ1yKrowZsKAgP+WaEtAyOr4SLZA7XZOvCgdkssoGWznWedcRcwzAdx4o9ZjZi+UM3R/chhn0Z8I0xOJMDd5UXgP37GuwLQCRKMjwgMzERl6qO7kWGVwLKtqy/UvJ3xSNnZvruHijkUZSCpOxxKHSOVSsQ1Z04ztimr3o4v9ffB7vZGhILyPkgyHCujvjIn/T2C7rucadroNnXD9Wj+fUibL7jCCCY2EG2sSBz2BZ+ZhnDh23WZgFyzlvUf7IAxP1Ee0xf9aK+l9imdfuzAg8mEQ6t6jDS+XIxJQMpLBRucRsBJQEzfYUDPuo4DaSG+6ILFJZttI4Ve5JRDosan1U3cL56f0zjlyllj/Lt5QAIWcIbv97YL6XkVO+wGPk9oJFyOcC8bsZ35HNGjSCXY5287jKCQoW1mDAhypNAtThzBAMoRorECz/oDyu+LT53AMG6Y/CxMvxHCgoeTGWSowBE0d12ehhGhq+amEeM4zSR6c+uz4X2lHED///LhxjMctRTIlmp0xlPPZQesIw1MPklp60l2BFDut5ljh7y5LCA3DIGc73b+Xu+7/uJM7KntKkR0NQr5NKA9NAcbfc5lFlZcfEKGen8KOgiezEahtOX+EpkH4jnrYS/jdCFbU1oX6GaOotMdk83jm+YyRpGxFsrQI8y7YoACBa+TVUzyt8E0bc66XnHxpl19hRGI7lSopRqtlhFsyUfQt8rKQXRD+RbxiaCDSpCn+yAJbCclZnA6w4FBCiOyvbeAjNiAd74CcM9kz390fHI8HJflMFCkk/ejuL5UNqT88wixlHIKkxtXwcsSSCjSPdShTIaFFtdW36oX+iJaVZe7W0IizCjyYyiNy+A8QP3AdDiqHMZiSeoj7RU+U3CYMEgP4TSeQNl0T6s3PRgx8+3gelI8G9suteM/oZ6y1QQN9hmnbhKZB+9pwRZkciGM2+HVQmjhs8tQqMMIu3RaIHx0d7WApyoe423aoK6Pvh3eVQOFENfyiAO2NGQMIBBIGOVLLsN+/bvkbv7eAWMr/JLfJYAtfQweJbddH3AcE7yYLUuwotoJqJ4X3b/aIShqTJVJItck2DO8TbyGa3L1ZuVMJC5EsvO97Ze8J7quInqJJzScPJqCCghJcXXlvXPjZowbeB03MaLmUKfTdotOqhpiRZph6PzInpWTxdZHgrIZy5EMjlaOJbTAbwGTiVxmR73PKoxXwwtUwRu4XQWjPo86hiTq6axvcBHANmOdmR90CMvx+qgDH8lgglnd/PSAsPHH+/jASjLQ+XiuqNdVS6r24dg+a1Qs8KRaOjRacTWY1RePOUMaJk8g+bf+PCm61/JiTuuXxetXg8btGYyWCpVCybgItDqzueG6+RKHQZcNXi0O6KLSRqIoo+i9M0vBBdq1wHZiE/DrBFuI32ppL+taYnTzhIiyxk2QRMrjTMP0C6vG2umtbEo6YJD7KKEP9iCe7fxWZ9lKx6RIv7DSbI0LhAXQv8zGX3wnCLBzlWlMKWXD6PCNcxSXl8IS0/gutrMy0IIxKKTLc3BZSio4Ocb75ngfX8j0+G9TeQkIqlr06dWjKbhoyx17RiQNq+nU8otPdUjhbPXJZh4IDveOU0GSssVtKHdjhIZ0dhVIXFrW9sglCUWuVZMf+9CV9BmgVhsHte0wlRLR9V7T088LWMDu2Gx+V2hfd2sufW+1HI9atQCtal+cG6WboNrfTFKb7wlmPQxU0Ir9g78zlHxjObenknnOCh5Vy5jnSfAL6mwZjWKfwKE6EyrHSwOmfTNdUFEpFagt96vTH3JHJSUPgot41n/4uHogjAGlXZWLkfKaGD1kaRezKKq1+6NznJbKIIUavPeB/SOd9B6jfoE5LdvZ7yVTiSLu4vyTVe6zd/R5xp/eXDChtGMG5dMHyTHNIpINlQN1qFcllL+/XvBEwsU5tYk6TyTjdLGO7tqVEvnoSzkDAh2U0KpPFwW+Dl1tNddoDTmW28Tar7jZrYDQoZxGnxeh9vs8LkbK4xby1rX2G/dqsiGSwTCdPW+XX6Bp5R+IQcse7tBQEsJ+kAZXEP2RVlpJCGeN78OKvPu3w2DM4T+6zbZI1wtpgFAyHCRoQPZaDjffOSzQMzfLL726lyLz/MCeqIXNhdvIK4BDezYWvCz9d7pICIyT7rIhyhL6skn+pQldZhxcXEt1fU87jYiVDhQ9Kultw26hJX/uyaDiOcmXhuWEA597LpJb154kzG1zwDC9q0fao3IWMR9UX5/t88c5roEuC4iAtdA6PxNxw7lEix9k19x4WMtr8llJJSJsItwEYarN4Qx28z29A/g5aR/gIETLY7ctz8/4uQvXjR5K3RcYRnnf1A5y5sCaVXTcxLNDdCgzwj44xNPErSbK/lOk4w1lTlcvB7yXWm5BuiRuO2e/vSARUrxfSzurZK4vGfRDVkS5sPUXiwyAF9T8mVXNd6qY52EYldcQfuQ3B/3kiyP/t3m0cD4FAGZnWUQbjfj+CLicNPNZbj/WcW5h2ZUaGhIHNNOjTb/TBOwDV9OfLPmZI/et4zKqEl510rCGq4M0eYIQGnBoEXmAfvrokJHPAx1iyDV+MetWoWD5wTD8TnikNQ2RqRWheZIpNSgdUtvx2G0aEI3MSDwogYXQSecogXOIzB0/7gzx5zy8EQxvTXNsiezPziLvw3i6KOSpGsByAtDQYyGgeVvS0P32JxXCPeh0L8vqNg6hG2XjX5gZotdr6iqWOYK7Se5td4XPLff3JUGo9kEN2LhA8fLvet5kCe2CMewI96JDYNBp1ZLt92L6WFN5tj9lGrWWdGbTOXwDs5FkjvyyZiBgeGIBVurba1s3k3HjheAorl2Rl5fPa+Fw8bLnnJ3pldFYZB/I01lCgjpwszS7BqbIbLclz0ANkpMJVaLrK2Cmfbqce5f7wnBf1VIFyciCXI4MQ0cK2j8mKopCZ5xwedbpEh1Pb92S61WEYX0OCx5Ys2tA5V5yfMD8GX75bBcI/L+E0AU17r6Sytqi7e/625FlbFJfcly7/l/auzjFYA9MFqLd164epSmOosOmBZ9HBmXTHMRapw2XX34fWDiBigo1DQbYb3uKCTMv8k41Uk+2H1YujSoNJXEa+3+ToniclJwtvO9Fd9uj5jg6Ar0Y5Udx43h1aUzXipyOixcsJnO1V0ulYs6OF6Rt+vPXpHS7qfLIgrjRCVNW7Cx90iR+DH16HITnaoL3p3C7owGLBZOnEXtE8I568Fc/rAWQI9lEUcaz6RBOochOs1ecNLB1/0GMmrjUBr1Oc4TfNRIIucKLKbHLiQ/h1dXa1swuPA0HOFW5pReAs7f/GuhqJXvh4bXBNqNnWJlILN61Ay3ExwSMjqXAJIuFCOrvrKb1SQtHMqw7Wp2YaC9N1IGpTwlFB1sPTbB4NID+uhOtyzu9g6/ydhwMl28HXy3NP6SvbAPa24cAip8nCIO0PoIc3ACw/S9fnyBXxdbRHzPiiC3QD8hzfJGGfaNlj2gRskLObCJmWQoiXHEN4cMtknFSdzVMYXGlh2W9w2QlrTRokRs2A/7ITfzo8HhNjeCxhykksIVE+nYEjogIYMJP+afFNiaz5BC16tbUvWG2BoCXk+00G+ALT8fkWaTYsStwRRvCd3uD1lsKObZgkHmjmbfYKmNtMjFTBurIVtIUHDw7AAoLAim2B+s6xkNaLnFrRQbPXRF4YtfwiJsq64Fbn2Q/nPzEtjwr1fUUHuagRMRkk0wk+hyg5rxyrruGKBA7F43YoDRunwBx1fElAX2yveXpE702Rrj9JuKpeYpRTjjo90663qeYM61d/L4wydTKzAsCFl4qB7ZVzVURB47cwFhpujJnjJI2nq4K8CgLctuxgqBjryv3C2MZtsNgifzJ6/rDsJ+i5rrj/GpSyC+pcJBJgGleVqtINspOr7Vc071qTV5sL1DweK7lbZ90o/khq/DdAPv9JKdIrA22ZNOkKl4lOxhHoTgventJyotJmun0sPKz2Ya+xKOQAALFxPDMrpm6VfGtQaCi4CF8IKdpYGmCr7s5jEwZHs5wJiR8c5dEJmvm0TQQdejc3M37pQoCLHvxF/+yAM6qIICW7BS3/uxkK/ScJS/7lc7LS2whYr7riPjMWMoJPAmT2jtUtMCrDB0b+T4cTGqDDAlxTSp3ayqCicWnzEg3HSyS4tt1tkrIyF9G1utMARycZ+iWV79J9vz7jMliFR5CgakPiMuPeYKbDU4pzzVIWWIMlPKYg6OT0qIqhPwZnVlu+6MC3G2TGExwjWwZ1Jux4WBKyb6i87ViabT1v5s7nc+wTbPnB9BkAaNhMHtncMI5q8qsJoLeRKr3gK7CSWleymrZUAIDF6Z4FFGAw6IDUXnU+5EKz6y63ORMb80g6KOY9EILGcVNijM/A63nky+FQFYbsctUMr6TzQM+2utTDClTvatWc0kqG2WViluVYbKNkiHvOGMqgrymUxbtT6b+gzteQpdwzTkgxz2KZyoG0q0jEe7wqqYJGV/9swqAUAr8efHgO6noz6JWHseQuuC3IdIvQOqwnOMAVXKFEvaDXFU9Jm4QU3dxHSS9fweavMjYfKQe06UCVRz0S9d6qb472x8ALR0A8zWNfBiA8QraqOMeapi7XJ0jeBD+glLx17r0TFyzMxPkqy+GQlogskEE4WvG9SeUziGodiC1pZII4NduJioosogqy/0bQbKEHXZNkOprFD0CGAvOJAwUtBgYBz4OgYUACBM0xBzePLZKXUqKsVTFNq7JUXOrlgzz/skyrnFAoce+7zkkh1GjobsvfPGVWK/tTYmt3W1mvrmN4cd9G8SvNGEY4XliG48T6DDk8emjyTagfNFB0aKh/cb22m5wcsUdMiqtUZ0uaRExjaP1yrB276uIca8j9mE49FyddDV6/HiwdU6DE91UwNrzy3UlgUWHZQ/4eS7+efDzKXSBnfds8d8BiIA2Ou5m2MwGyOsRiBIVfZRrnczqKxCnwQtYPechewmUNtIjMRlipFSxzWATzpmnSvjlMQMzi+MRwwAEelR3SdWH7j7BVvlXoRWeFotvxDPqw66U+UdHxUyyMNsw430op0k1wmc/s6I4t8oePAg3/3fSCYyGEGnbf03QhWbvrd9vcmrCNHBTPzcegOy7K8w17sd9Lh0yv2xko0vYK3zz9KPh/X2uF+2NWeg7i3p0hhi4mBzM6701ZcINpkqSll9cuHKGZoInVNpo9/TqWlm/zb3+3I0c4CQ9rM7c8AjNL8N1j97TS1gyzEUnhm+qf9Ro+1Rh1VQMy588U3E91zR5hVto0jlzhtLHDo4zIq6eO+P5lOZIved5hvvzLM/J9T/BXhfP+DW6MzaIdXBo8wTZh9hgp6Awsth2Sj3MOUo4xxdft8r+hRSweRMyHGpmqOpuoHScv0T1QgMbZeCt6ICRmswhtKN3fsKtWBnPBKmPIDK9Wshjm+RaSz65zD5c2Wtht2+F3FLE2uQGeVoiLdcY3nTbNfpYISfZ3P61apiZDWepj2RrlaE6+icF1tZ3CTHRVLCOQ2iwYAqz9qHZJtr6eylOgdt34382aIozeSJN22iQJx2lihf5n9hw0pDOn41Kbm/1gHc19R4TLSmPlPWWQ+2D8fT+3/uvPV+Ke+wIlbhq4Sb4sKTKR0UVYL3SpxyXAmYArrvNLYKfvc++lUfAf7ZHjfi2vOPLvZotR8Zoqj76IHrewXnPKANaVQ+HeqCUlnn1vuGAPwye935PXmuclS/qyS1d4/EnGQaKYbzxfKvVw3dnMlpBpbGFvVaCop4+bR4vEpr/z7iyqpyXXwaG/LOvJ4+IcAe+Oyt5G4yMrMl0DIhgNZWEj/K19NP2Nck8sr1KXKfhgrMBLnN7Y4hNbF0sjbHFSPJSKh32pAUQmC+mkgMkVycuJce2DDS88QNqB65a70ezreaP0vZRatkghuciBCTJuSrgcfpOxjMYB38rYCOmh1bd71YFoqOl1lUVGc/IGcOW4R4pAljOlvCmVARLyLpcBd3kOlFb9NYtJuA+MZLkuc178Y0bBC4+hcYlb8OZ7zyTospY8qDe3HWdXlM7w8Wda/h4estLIAMVDb6cDjHE7T5IHMuwYQmad+gt9rf91LEJjhloBYz2TLhcU8h/TsDg6raC4H5NqHGp29SIA/QQ2XJg/fWE3jnSNieKrocOQ0XzJKo9ktWTZcNjfOeOMHPrurMgvvHdRGz/ezhzUNOOeiwWkp3kDi9a2i/nqT8/86YCVN4gcY/BZwvORSkAP2H3eO7Bqbn+xSse7JM6fMa0M1Gmf1Gw4D56tiN6wKquPcB1RyEovXZ0lpFAQFeeqvcSzlmGbG895epuxs/75XFMGr9Jfv7Q1Ic2G1hKzBZTOsfxqkJ8LNeR0QhgrMbMxUorFrCffqgC/rrqWVksoALGFrNB8aQbXHZhu7YvTYmcVdcLDSWUlI44dMeT2z13lysVVLW8anGSKZp0TCifHXuG7KG+u9QQHOYj+wmswbVvuX0mGp29Phgltrm8O8d++KjZJHNsML/D9AoKD2SBs4m2AVy5HJmv42NMETQILUxt+ahRkA0DB//GS3ygfE2PPGnNxxB/c1qWvcsyeuEkwX3ZPcn6mdCW0i5GM2bjMWQzcdE/W6QJS/sdCm5MHGSVTwbenq1ROMhS7t4JPzRfKai93uvh0wWnzPkbuIEpKwTV5OpFE61GmSz5HvHmPt7KVHF5zIWmddHkCp6oWorr/u9HWG00ZZ5H56s6OdOgYCaxF167n8uKRAZXhB3nd0vknjslqr2IZKcB/9P7T/kcL0kNWXArjZlFrg6HHgopMa/ZX+9z0i/WEIxUIXpoqY1rXBCpzaapEF2Iycnd8kbqA83RuR9wrsll2miDZTpzVRkQYR/d8aw2XsRrZ8RTbyksv58JHMZC/LU+D1M1crXvvhSs6DShGbC3hFX6YKmhgWDFygGv8QySCb7pHMDbgNbQcvXp5ADoZ4kiUBwDIKaEgyDa3xXehGqF7FnQOOkvYcUU49ELWokqMwraXa4ULMU16ZOG4L1y6Mg2aHzAybIepWhdGIIqSWiifPRF9Whn36i8tvHPC+f1svNu66KueFEgRyLCFTqfsMnP7Gqqm9L0VGhv7q4RFJf3ugzv0E0DkImobBFhNjxsItnXGWXRzTRsCWFOMycSIKrFCbRaADykphB4hb2PEthkLYFufWEAf2xprza0xsoLC7Zuc/UkYTRF9Iyf7ugGHBIQf+AwNgo+cyB5wgk6/Qg9zG63j6QAeZzXOrws0zhpmGBr1v/tkY5e25xLI/eXGaMDTiQV9iz4iDmTzOhMZb4Yfv10XOHJCIQqZ1qtUdVbEaj+9Ph5loPwh3qE/c6WyAOvs9uWTUC1t35zDEk+WzrqqGsEKG88ldp/ekbNiDrHxJFHVtnU8a6soxmh4mV9rHTlUkhNEh9QmCrCM3CnScB09zbnItrbZb+mhrfZJri6pbAoIUncmCe/K04ULnjZvfkBkgUfxt6315/p75cpWou7o4GUa7yJLMWt5LqmL+AJqrcAFtFwW4wGD1vOZ9Xkn5ey6+62xAhIVbocP354BUiNZkSvO/uWZtBv9RwzKMjbNEh0bLUMR6gJ7ZitfYcPqo2+4kapbsdUIIrJAm3xOfEks6TjpgaXISPGn3AfMPg33mAtW62GyqDGbrk+kVGkCber95xAHscGhaiL2y9zSMG0Bq0/SUTEHyIETdjN0r7D72Ng2NYbf3jUlIUHMYwA1fzXsVk9MDFz+rpsmGxyNtRzjA9/w3kkS3/vWPYejWoRE5sBkhxtqTnccd/QpOQgRhiWwLO34zLLvvLz3wd1Fx8uc+WBhI2gLLr19Gzsw03kFXFn0u0RMvS2NtUoRdxh33lzCDh6iwGbWKOIO2uANMQTXEg4Jn8IqUDOyCHaTFKEvyoEPHVwEw7QvkZdzjHquuodvC0Bax+gfoL0iMG3Pcu+tZB9dDAbTPJyiOSGz6plopoFlNr6qhdyHz9YbtSNoeOyu5m9jPxI5bub29h7F6mV4Kdte4RT8Az4euh2VhXPt1LDagxczjmMJJCnZWIjET8kXlco4UBdsuMMYG5VlRI7WOQ7dpBqVnmEJbrqirb4OH7vVGn7yFuHu+Htg6T3HykW+7B37oSpkxFfx8J0IotaRDOuAv9gkB+rCzMFdvf7jjofwL/EUK0Y2toOLqtyB+XQmH3Fu1vKjv7PFANRHi1mdad1sO1elxGrz6GUiw42xfEzoPUAAFLrj5G6w5YQ6SYTrvYKrR3tI60GBN3vfoRxy8OMpBdq6aqP9ZsUvrdH4VcOTKvNhgEJU9cc5fxZ6z1zpiLmwqC27cTu6c21BLY9FMcx40piHm9yg7tKFfSnLRqDvVfqNgxG8cQSNRGE1rM+01ZEt2T5bWGrDysrlapuReSFVfyEuZQEfBvzPDAO4zBVTCR9IZ8MV7zHnT4j6hd4LuouazBKBn9cdQFgP4g7Uw4cGL21QmRvNoEIJ2pmPlSMFjlP4iJt5BawaszvZOg6blcCaPqdJJaudh1sHphCJDiPNti+Q2ozqqEgP5bKttqxKgymmEF3dg4pAjLhozmabI7+IBBnm205HHK+ViOKdUrCceeXfwglvGq8yxvkjs90Pth7NzybPXGtyYDLazOcMI5MJOWOnvfHziTaZMvuozgknZgXRYGbvUdEfDVpJW0BTAHKwD5u05GykJ3s5zl44uq4E54e46SrwdKAiBaX04btsrINIvAoysH0uo03ZB7RyzCq2GODBLm14+qwWC5lp+xolnBwtR2/ceZesYuktoxA6o/XlbmRJx7sX4CI3+m6rVzyOYDmJaJM5ZQ3UhUVHOtKKVyJquNnEg7pCuHZwCbpaAv1wSf3lsPR9sChL2XaGanI50jLODobvPga6pVKghuGkerhIRE9ivg7v9KJSY4gZ7cp8oENQLFADX27ttxdgfMSZcw4BxUg6lATm+vNkkB/qz1nc+uPC0sLaAzCtqzlR2rbgyNkmCn/HTzQ/4TuKuBFPdYrtCpLRwzt2oWfVaRPo7stNifAqNRRqDRSfDEPVv4Z3o0ERDTXvgmH6Q9p1jCoF6rekWVnTqizUESqk+oxftVdakt+86cQxDot4x5I0GzVv9F1zfn9lkgPBRHxCpn42qA0yNv8ytZZy9huLkqqW6QRpalmCzqO9GtZt3uL5mOhPef1wjZFiVLGtylU0zfO3tNH/IGCsNJVGC48rwoDTU9mLqjKisNFrkt1I9yqmbc0VmoxgSUNdtNhmuwF5XMRP9PL9FbvfSXgwZ33lR1jXZbkAwQtj4Q+AVra0xPfvsHkBacygVrzHikJiUdbJPOupOpZlDckpkn1pU2FM09m10v8LbrbWxNx2yba+ctop1uucL2sl/LqL4hlAePMNGOVwwHnW5xaOL7bVwFck57t9oKRUB2bW6vOWHjFL0R0LWybnGcCFFqgIIzHJ3DFBbQfXL4okczmHeBDcJO8BBS4o/Nx+YkXltqntHt1mPiyXZCwuj0AMlLklFiCh6h3VaDv1tbfMzm9Z99c8xMCqYWQGYoORaZw1DX7joMc5Wg/HMdDNL6fZpRWfoyMP34kwteQXxVr8YhDYk3x19LBchPn2ull59S9+tw4TSm1HZL+MjDqcfZ5+KCTmekVbeA3uJYoY8afvkwPtVUjW+N8iHW8c+fKmpfPlAHU6ZtkMolnFxLfA6WswZy6YrWTjUBflTrm1aPvxd1DuV1WnWfrZDYAnkH7GuW6sRjoENFbUIyWAB1AQQAwfp7FfdKM9eI40tljEOndIAS2+Ay8Yoszi/xoBdctB19+BGlLszN96wTmvgR9WidFDQY7KKExtr0wrr1HNFuZKgpQpMQtSlgjm3v7Uq4pJZE/16kEhfSOsqYsW7xhIbtU7ugMuFkE5LKEHGeLyD0twVfrQrzZp2Flk2lu6xGVeT8PJAZUd8l21vHGc/L0vZtxbsc2iggJABjx5lBMasRMMr+qmPco5kQOTvpRUKlEWsrEh+U8ZtQKAhmZjZyEHORhWOouejsr5y6stMS4jFHs9yKQvWsIwgfv/ek3GvK3IiWInOCDXMbZ7hKOTg7PHlAOSU5lUz4nu6Il5nYtSS2V72ibSG/cKAC345+wYX6bzWmzJXIcnHxN4mcA1aNrSOhgju4y/9tdZS7/KikxR9lbd5x19mUKyGn2j8vZsmGixbKPb9wSbB/yY1C3ouqCtOwu6YEN1ZyTg5Gxu1RcMjuAZtWh+7iy1S7Gs8JBhsE791+xpRkn0hFMr3ksWiLWSOaj4OEDalv9LptBAaCKoHD1HiZDAhr567v1w8FnlHJM564C0cLuqe2Z8bjVN4Um0IpX3mWTzDKc5EfsjDB3OIULdFa+ImHj2AsImV7kfgWAA2xLPSipau3BknYqkVJFJI0UGBUeXy34aV2ZKXpTXcVrbLnn6hdIKDTk94aMPHh31UpFlajIkVVfHGbxzKEHEo50elLNjwqokIdfhwg0DMN88YhEJfjwL+4+bNyXgKmXOZKypgb+uiHYiVKVPy2rB+hjGBmwVQt45MiAx1H/8fTj1Tfxe2OL0+8u/eJzoXj3hf5Z+O2rWINtyjGE9+N6nLvXYQ7xUs5GAhJGuBR4TNdKQoDMjUX1aACfikXiHLslGj4Axkl9hGTsAb/cAb9Tzz3O6kOCIYpqK9F76ITWpSt6S4lvRxU7drUizuOiYooDXAOqYKqvWp4EHiP+Wjas0qQ/Z4q6o8w+DebhfsLIuKTQAsN4H2ktwqOCuT5Mxozgu7xDRbZASPPmboJ0AXHUnCRP3osRyWcrIyivcJjTu9Pb0apbDe02wMwDBULjTcb7TenEVA48KcqO14CBaf8HYD+sQciGfwfjmFKc/mzUAhREqBhcImmvDIIwkeYkTne4nqJkNS47O24kdtswCj96jcFDtIiOIXieHiqJbB0qhoshessLILZRnf4OcrXx/mqiyLwnOzWok/1EzNUH9dR+X0Bhx7EY+fLBxuPjdKODvY1gjZZmhPRbx2AxDMbjcRF7qMXDGSlSvXG/zXoTYCUcyakmTHQSdMnD9N1U0lI27TTUwLY2rtkQkKegGZ3e1S1XsIlYIxaYubPvI+vMcA1m8DkdpJ17yG5gYfQVjs2JxuClHNhlt3Ve9dP/5y0C9hQatI4FgsbRAYcUAPLI6DP72Itl1SJFoJjxftEiu1XS5f260GQ/n9U7ptyxLmayDrDV8BSNc+FDuW2qikb/dscDsc5nW4NnCP6qogWcck9OKFG93nY9StPBaCrxqIC2e8cbLzlFv34NjPyMlUF7uGcCS1Iowh4F2YZBcYppR8J34u58bB9XrJufVjOnQiCW4KKWliMShv/c1xa5DDQ32PIGDvj2lohHQGnpHe0QtOFHz6IDCebV7fHHE7RiUmxzCmWSe9yrhG5RgVN4B3CGuUBewnW4UYWeZOPcJZxdpfpE7nUGjlRVsYFadHawXsbsLypHlfZaTCQSfsC2ljHVvcRocOIdGxK78fsbPsJ+U5p0pg8IlhoodnfTxcNvzvqKRF0yV4VOXTfFGAtVLMmjeJEL7WF02JOWeYlXM+rMOv30kUc1O+ODP30CbHrOhHnKc17p8UGWAxp1vgtGoFuy5R6k4Mg/tSiG043VqLEfAdPgkrR6EsINGhPATFNRQSPd5vxoIdMMVnqdl0s6IKWQr8OgAzqJQdvpNWG143cY4Z3x/+AQKQclOmgaacjCKJ1KbL4aPNoX51wh/3JZTYRrnhpiYeauzEXxE59AHHmiRcVzuj7f3RhG2s7GaaCZNNvzu420V/sWdb3+qYKYbRqSc5EncFPtbOI1utoeuRrFLgXGXEZNrLgFrbEKsGZiyTUjppaxM10FwI8bjntn2Fc3OLiEXMBzHQ0aeyTreW8tg/aLQP3ThIkoFdTkmpIro+edVx7lJzhHQ04x71kKSFAVq7yMij3GZL+7x6mhwPVbDduWAskdRDZxkeq98c855Zx6B2l+NB77rqvogLk9U9wmYIhYdcEeHc4qxgUgem3RcvC9yHdbDP7dSspUhtJcKuJIjdNi21RyzYu+8VdivGpIY5TM7FjVtOanMIKUg1miyqRswyWywbC66iGblSR+DC43R+AjlL/APNdHZScbyVOtwURU9sZ8H5Mfqf67SYQ5NBRGvU5+WE/iRciszKmXSLymjxbbnNIkpR0hAGIZTzZUeVuUOw6bLZlweD6rZ4lfivhFXPfgx+QP8w584LO0erYZBgODEsNFpW40vJdpvkjXumGW7DZRV3G8fQ4H/QsecHGCN4A3kJOExEO4PGXLnHnikDo5ZtlUgyDRNyiY9MUcFg9RrQIzMxop9RIP+wiqd//kdS+4xuFLmQorH7fAXSUWjEQmIroqax0HYHXULOeLIj15w37lUCO8OWePlgWiQpomQN8LR2fzP4umr3UyhGr2dDpm0jyzBHt26s3mr1KiZkq39gcRzwxD/53JWs+e9ghlCIvQ+PmZ1Ptg3g3uhZ48BI/tNXl56EQ/vZHe+EOc7xteFfqQwb0R40PX4z7cux+R4mBy2OfwWhu0J0bW4nrkKDL3woSyEzbQ5BX1/z0mALM3/8hbES1Kx/uvbY6MCcPcNfzRZHSFr8k+Ge98UfGNtOsU7/HnI1h1gwY2rZ4UbXesJ3T9TE1SC83MlMWBKjIli5v3ugAUmGdHAXOLOdzqDxDf+TRwAgGPVccfvkXyVzQGj3pud6AUAx4/xbQs1KumB9ObQHV5juqn7zd2VO3nW9+a4w1R6gsFCAh4yQ1ov9Ghf5zMe+uAK3rrUUOcjiqnorSdPNV4Ddqo3JKycvJkD1UaKwMmt68YInLmvRqpLEMdTEV7iZ6JkbctnuTkSrGNGdnrTaTxtlVBFFGr5qiKZoXr4aH/pgin3Jz8jJZcsRpvAEIV5sQ2gKMzlpXFYqc6cT0a7ciUg5fYIep77/5QEFlRrCk0KYOo8VFDwLOODRFzaBAh9t1d7gBgeiiwsW+2uwlQnoE+4ARH2e1AJ54czwKXuzJ3jfinU9s1OIE0kTUBrnFVrxas2cXSA/p5fYz0+j1M7wG3jyjBpA2Hewwt+EIYT7DYi4Q5txZE8oLQP45LzYZKIuVjgU90Z0/zep2YKPTDi4KWWpUIVQ1uOiDgqJFlZ3q2E+MQwPPSybvmsqChHDtDM/yvbW3IGaIGcf6xF0neAW7c7VczJqGfAs2Qw8ZzXQuNfw5NsIQowIlUtLjFZc+NXqBQPfSIaAvqm3ySianXBtZjEGW1xiTeHt0fFPa1Yez1xDlUpQXOhYv2a3alqaoOLXCPHBx77+wtD45x4EPbpG46B7XBJkOHrjnyITsAmuBwYlqdxb0gPZba0G3JECWgr9RtdJDbLMa1Z/OYZsMg4vkDCE15ihDsU50GWc/Sv2gc85Tt9sPoVwrf4QPeT+vXDnmfBlsYDVOHSDo/sFb6PDp9Doo6fRBuB2GsmXz65382qiu+RmX/ac+bdY0pBy3PuoAQkuAgmpRj/l4S1hVQXuZ+k+MneVecmSL8Agb9X6J8PfyZD185A0t9un4SPu/eu7fppgTU3NWrLHRL7YKVvryYzthffTF4ichA/X6LwaBvEYMZ9TXDHD8nAR3LoUpTEjrQzrwJm/zl63RIj7Tpv/QXskXmLsOdoQPaFsTCocIBujrwoE9GQPRDG5/2BcEiQiDATXqg9XC4ZoR7EJkfSg70sdLr0hGpQ6Vma2TKH9HHskYMT2F0fZtdUdabrRMe8j9hckZ5OcTEVu+KkG41t0QVJvb7Z1xHwCM86OFPAChsbPQG9mFTVgnO6xKfzUj+d7Sal1ONdYOf/RRu3U41ZezaL/dHmz2Jq9rZRqoRPqHyDlBM0cBu1m9fJzgNiOOhob66EWTdBhueF+2ZYNecfD7GA3I91ZwSc6hXoGKhOpjtZbMa1qKrYe3dLOrp6qK4/UivHEAi3cvF2t4P6/hZgTqSfb+oqxLlYJEvQUmlTVcUzHQIrbxGLWGX2bGWOISL/fXtW/uso1VcIK8CGrgcI5RpXWtdNi8X/pXLM0SuhKAELuvYPEB312caEPToQlIQINdF3mON0yEq/CzV/8nRKtwC9MUbWR/EneKrTGQxhbUFoXgkFxDsL/AiHw6jlMOHMJte0L6F5XiJXR5FskyskXhFQl189QK/RaqBDSXqckNxIOYb2Y44JOP1nJOCE8CDZIXNNMrvgYmBZh60iRTo7kl6FBcEZed1dFoMg6DaTIgE0ROQya9/81ETXqQuZFCJ2qN8yKTg7aCq8EMtYhHjBDrRC6D5h89l5tfN3+jhVEoKa2ZE0WFNrToZ+cCXTDkRCi4DfG2v6rW5PYi3hgPe99VxcOcp7bOtx9Zj17HgU65/5m7c/5Gdn9yNhuNRESjUHmYxEqIjTOAsgYFxkLhUfLzihwO8Y+OQqm1NDQd/mN8XdLlPVLvwbbPPmdNhmzU3wqkoSb2ntRvaWPHaeNLNdAaC3xnu35puT+g+mwyYto/bv3VJgkHZsh9+QEXHzKlIIdgEUJ6RvJc6BD8lD+Ag1UIkul5ef3oLWBJkq7rM7s+P2Q49c3pmOhFRbYBhqEwqpV1buosGb2z0zu40VM03EaWyUjsMdB8vHc6hUcmhWdObG3QyYt+3Bcg3hiwO7/WR8tcDLTTcj1scRSkIX8O6dPXhuFCU0zSODOvVnJs9fBXOm+TMJEIi++QlTrPr6Ydjxlz5sDK6Xw14gtgi9OxMqrrpBSVOlebIOelybaT5jP3o1Na+2SnmzTi0lT8zmquzETNEFU9r7l1mLyz50okJb/4Er0gATL5RMV/+dXpxBiUjsUTMUx1zJM4rwkTZwBrdKOBMOV5LfrPpSgBaiW6QyUQTlvsFFOHUEVBTXKsCuEVxkMzoBFUfSHWNFRredb+l9Aida48Z3FR6hYlO9Ksnr2U9myeAWXnpr6C3ALb5CHJGsC6lCQ2nv1ozt0hE9DZ+AU4x8OD4lICh6xd8jdibvFH8amJ7xcC3bcXvaz6lJG4uZ9SJ2qvRvA2uNPXuWqbLOTT77DExzE0Ps7cCWv3QEqxdRsS4M6NI/ItBa+/r20r/xysAvdR7rf9va/G1iK6m/3sraiSxjkwr6Cik2Rz4kti18dXuzixspL02lgKUlu4RlagRhN7ZvaIldaDldWhXpAz5eatCQQxcPi4ay0mK5bDv3V7d1oQy5wPQ8JTt1Kqt9DeQWW8jl7T4mpSOGa2FAkNRBlHQ25Sl2oLBRMPDBVP2+Sctl9+Lv9Ge41chdaugoyVECVQ0iY2YY0Hj/q+xgjaL6KnznyfX7/sKetEO61uBLBXySSryU6pzm8HoLrFH4/q6tER3lumipOsn4RkBvslymg799wPESQEYDYFBUNm1chFie1/rN7xdpCjdcD+yDGZnNFxSUHE7p8XJEgTrtuaOaPQ416bD1IQJHrRHeS28Ert0H6JMrhkYT7qrUySQvn6vob9jVPj9dS/1Me2QczbV8viA6ajJGcZR+rmlVYl8LgcQWZazXUcev0fqry/1RpQy2V6NEb9IEugKPT0lq5Z4t+rmwMMJvUvl4VeAIoiNWIdc58j0T9jRtOZRYguA39oRIo8g9FLdeiVus15/zejT5rTwEPraLjvSNpm/Nl327Rwky2hIMknWBL0KuaHqVGhyb85fSn7KdE/6iWXBDUKpH/CmDhOw/e6S0fcX5Qtj2WEx9uabi/iloMjRenlEqy1RSXwIbVtUmfSjZ6MLsYPz0UqZ1BxMN2NqI1jFvPpRH1Dz2NcjrnvhP9i0rGgoOQOJkE8mH10pQJBUhkB5dqthVeEQ8yp895vDy4J76E7QiD6MGvKKYOeP0c+ZsgDzyN5AsnXjcXmJ8SEJOOBbVvwPR7Wr60IhXBVDLa2wRRsRcKJvCFuiMGNn6IE49YxtzDTzo7YoTh6Yf/rAmQFEO42GEEuaIgBMeHlZWJoaHAcpsd/kjf3J6co1S3/AM9aLWSTFeQ+35GNtlsjMipKuaRpdEMhXCROLITFB2EBfi5TDsm9El+OPVNYnWuj3pEaHwk5J+ypfBO0WpvUplc2FUdp10eroZqGjpxxQC334Opz5O/FIOC+FDF7xTVDEKdudH4M4zYpnocosHkyWUClP9tkifyZrUlB61MYACQMPBq87Vzw9+kFDp+X7XJTngqss6VqEtl6IPfKS0g3+phPAyhIZJR1S4dVNgwG+l+EyAvqPTFCvzIX1RO+onTnG58MKrtUdGKhMyLKWXALQtn2oUd8pP2G0Iv976WhMI4Yii7UJ8iHSRVZc93M88myMzoF8WBV+KIFN89Ghh5yarHI9NxSnhJC09uoB4BsDRvtASpD5kDoPr3hr9xQwHth0z/dlLfE31bYRk8fCQ41F1eGIwJsYkXxUMfkUwqRHElDy38qVZGNsQdgkly6KM7pzWmIDNrP96hi2VuHSFv4mtlkDfQwAsxK0cdxSkw4gRZ3TUe5GcUvb2MxI49cSU3PjzkmdeQ03tZ8Tm6sfTwXnXQsIG2Aw1cJikkixwJq1tjLCLBxQsetBwGbdghtRHUFV/7n5ZOtFe0raMaz6FtjPl9uIEc/631ARjVvQJwps6tP2kgtak7yAfXE4XPRNc5NYB8wB6hFsSUngm9v6rLV/bnGTMmiM/rdf8Pxjxdj9qTdyVevdWJ50C75Jx+BniwJuS6KOmfWh7Ml/vzQkFbBNx81/eqeA6auwlWeISoQkvqlD8qp4iUlgqmnSEkHVxqzl6StGoe64Rj6Jn5mCc4QNC4G2FOOPkvpX8ibreTzij6iOrc2rwIh1BkRqpCMnMIiBmHB92ycWByFgKNzIHl3DV0HF+NvJZ/wZMkngqatzPxYn+i1gAlwSR2AKmHV2W2E3WXf5Zn1wU2lFMsrBRWS0I0Nd/Sk4+SsnkVeziPUXN2HvkeeW1yfLQhfMTDYXsnX4f1OqSTdMyfdkFIlZrTtT2+wXn4ZReAtCJsoazpRMngRGDUO/tPb/yFKnz9H5qHpJXD/r6QNnRin8pGbs5OIFzsaGts6Rn1feRjHx2JLjckRS03UGXMWHcCl4Qnx6qwUHfrPu0UTzSGQJNo2IFaiHp+Vn1sGKHq7WthhVy2P94hTSBXhCywYMScwLQE2cosw/WhQNcx8hZdskq/UixfVW0jOKSl5De1NqilMHnsmU/vAhlYggg+6W+MZyhyjwmyJj+L/VwVZ4YWON0k7N2HVNkKrZKda7zczLqjYvaS/axtgGRNx2I3X1aHIPXawXekOduXKWxuB57cSqJ5sIaanUi0xM5TAR7B/t3z26RuLOZXwgKXV7/4BBdL083fMEmn87IpL5NxsLjhCtAidZcFZq34aBEw//emjXq/IlXK/9VfggRD75UZCdfWMF4/K9RJsV0yhGfcvyOY/B2VzhwY65VY20yGRKwbMwtlykRzmYJIDzWd5saLmh4pFB96EW/nWZ7jrHB2dALUeSSzX0lpXjLUaRciUzDiHqR1H1I0n8qUTevpVAkkfWBEXFArn9x0ZYcXvpxkLc+n0QhXEY41/7CakMYcu16Kb4Hjdxs6ybVRqQ9fvFhpb1XzkDaRLXKZt50aHecOwJ2YUBBezT6BiXmL4H7TzvxLZlPK7ZnDskHn/HT4PF662Mu4+Zhw9M80NqCB4aftYVxwA5RNuM8yptSkFX2JNCdDN0rSRw30eSJZCPH5H3Aj+pA1dxb6YxwJ9pr8RG+MEnoxBJ394BoNUiXhqf405f8+xTp/B6q/jr9n1mhpcLF/oYVN0Nld2TMIHlI7zh0AEuyoIkkwW1dr/Nw4qxKCLXrFH5hnHLrsxPLpnc+qTnLiOxS+uJYisRyzx7v/agYJgVRg2l3AMCROtnHDwszrZjOy0NEYQXjmlVldyevINhx1HqRoCkXscpgLVwYgzS/ZYe99SOervjecon0XxpcKibAIU8F7wVCChaHWjedTKKOqciLjqNP5mg+4YYmx7Ae9zSXlzlKB7opJfGFoOoUpuCfv4cdxWAxU+M51U/1CE4+H8WHCbyLkR9XS7g/4I1u2ZNxwj2JkfNdrMXch+ZQR+kwvUZQGRxuFiMkaYpqA75ehDY5h8/s5TCfzTtVgBC8wlYB0g1PnCPb5pIV03PjBGlfUA5oFedUkQtzXLtzpp04sOokqi54rNuHCT+KwmBi4Gpgt49His7t4K5vq1GYEELyfr8KBC380DLma7VYSgXEvP+c2Fis/m8Cfp90My3Kn1KrYiyejPLi3dnuAxXwuB9AVK7taYgGiCYefGh8AYrHC9KElSsH8jz0+SKa1Z259wQcPqETFfVtgIr6X3LMhWP3mOa1FU75e3tmL97KAEUzc7Bn/2QEWVok0HL1J3lVQXhoytPv7c/mIe0Peb8wts7Utb88fYkEu3V5tFJuElIl+jenYIrClHqpJokTRl/LI4+sEz8hJUyAEj2GgdK79Qq7RARgrg7AttWCyTWkxyjR8r/t6O1tSILyA4DiHGnGert+Y1oq1/0/qlxEuUMORyhftuORwNNJU99Y9odehMyA2RTaJhQGeFlBtWoTvtzAAMMj+S1krVnzg7cOBXKRCK2G9P+x6FsnxaYOvrRZjvk5dJppmJqoUWi7cK1lB+4/8sBVb3WGMTKXcE2HYu3FUCNse1/NugmK4HY51+I1sZXuHfyF+ADMnDuIaYbXuPR/heFZgN79LV4Hz3IaSB9ABmKWcUF4Y/2XxwfTWLMvIwd0aW60Dser//mw8ZKZ0aGIZ0v6XMj3kPbw4FWnsiO0o60g7EVIEX0sdUUiPpJ+X2QymCsqEogkFykdPk6ETzrZQ2G53iPJDiS73KtcHOLEcozz3Yfqj0VakTa1VrIQXkp//UennBPEzt4KHga++A5bod3IWxs++rHxauD/yzhd2JrdFmGvL48dliB+8Q/93KX+gz0wBU12XxScxduD2Hh21r+MBdtydotGBW/gu00obWmsRYua6EdRcYxIrH23/RHSwCYTuUlRJjLj6gI5AkaVIoNZNwj4gRK9bDCA56Pza4ypJO6NCI8T/PSr7M8r4Dxh4veL840AikPiPaqXC4YOBdff/PivsVeJbxpK2JqGP9Wbr/MGtPGKJL2vb59W59hf6ZvNWAk7Prgr4qgVCwrETcRevktftc8a9ku4UCR2eqfz5gbxLo/DgFVuloT7ATJhI6D1TPzmIcvrX4XAE/ZsbWgAmkoPfYYpofEnF0PhocEvLJeZm3yHbxdRU/biwnTYkpvRQcs4oUEN4g2wJa20AlqmudkjJGNCAAbxucN0qK9xkWaZNRlapKZ7GGLw+c3SgZIvw8gMdFVFJu37GyE1xHe0+V6z6evdT12mEFc80RvUWnkuTyhrhokRp7ChFuWwCPQkzUNvnWwdF1l0d1b2/+pzwCQlBbeIXWesHpwg/0wRwvplBl0A7KU6cH7bkKLpzGF11D4l6g8da4WpBzRP37pg8VaqsGL5IgntklSGwdckBxqLaoRlElbD0SpoYEvhnjor9z7neIn3PEF8057aijRWDcj9F4tBPAkAs9kds0eEMc/z6BxkOxrkjFJ6r9q8cJvUPGTGo18gPt7Xda79hLuGTPIlz9nLC383dgg1PIjDRPEkJW2nobznMyc4OvCql/+G46fcRL29Es4EZqd6nXchFNp/q55AbRwDBRg+iXNrGlzz1FXRIo+tmoaqn7iMAnkxClSLdXCGq1lTQLb++PVR3K7wlhg/IIJsr2QobrPFgVgr6kwheP8uJKKMjQNDPiM+rCCiRV3d1s1E/nFpE3D0s88zV5mAWKNy9crNP5Yp00e352azs2doQQkIcqU0mEV5xsXh1mqYa2LHobE+TSgy9ZHPNXPv9KEg38M3yfBL+Lmz7+/NCyf5RW9/JNsCsa/+0Ocny67MShCCEHhKHyHyBMz2gCZyTRJ8u0WoamG7jqignVsT3r1cZYX5P18wYIPIkPA0tQsGiUZUo+pwjV9SOUP7NteMWaLuFU0LAIyDKtpFP4EwoDYJSUL3ylOA8+i44tB8lIpfH4JWXfDA7Zp63Y1Pyk5nY4QG07FN6S1+93Dr21Lq7SjgGvFhcp1a5IrKui7g8AdLb/bkqnWbV3cYFOoXRUI6UCU84fFmrLwG+/FtyrXcxbxN66nRfBI1Wdu55P7mgLYzsPDWvfPLerkZSE6UurBeSrS4viiXh1LrbhCRFKXR0aLhfFolNBNNkRRG6lInolw/FBm7Gb61B2Zw9Gh50Z9ev2+cvunT0zeHDSynPkOfbOjbJi0gedAZNP3P0Zo23MrJUOlxcMS5sRj6HOYfGi1zBo3hRq0zbZczGw+Y7ChxaJXncZ3+5a2FHcbU/DbyH8Aapg/eAvI7NpSWRzZshLu8R8yvTyV/ANZzkrGUCmYlojA/w57yeQ1Pwh2K6l6jPaq6HY2KXzlb1KaKMb1QgcmJSEEm/Pnn58//neonlaudgSEA/ZXjd7oWlz6JZAlQL82uhGN3jTQmWJ0lqAIPDKnb5H1/lbgYyZFqsy0Sdqp+qn7C32jKuh2dAzXb/5YMhBILWCPVNPhjoDDskTmxoE8mKX0seBftyoCrau4G7TPsK5NjiF4g0/9sC5IVV9HsOxtDDM+1wZ6lXm7q/GrJZcLwxSmy3w1cul/xZA6n/VolrFh+ceYaGmDV41qrHThcHVJ2aixyWJznbZhAvszGiKlTvR/MokPo3F0OqxSGzWaelete0s/FwdvGfwYeQdWPnEjC1XxkLdX5wDA6Aq/kOvh7ih1m6VCT6a7oQ9+jCdGb/pxtvh4cUoJwbBw7g6WDhWikgDgZknk9KRBcbNJXw//n5M/Lf2SF6qTTjAVed2HcGi2+vtvzVVgZqWEe6zk4pAmUOm+SPz4owyoYDB/41DsbdqkjghNbmaEdsFhvsDGuHiErwS0D324me3p9HMFWwg/i57KDWnqsWRyyGlEkXjMmxtm8Fjt/Sa86MnqQ+i+z+8dVvRe8O+9uHoao8e3yl8MpMGDX2pzMZoPcI4DWJQDBb0HepRDJBKAQKi/tureCyAgi7SgBD7RYODaKZS5SJLuCTOWrv7t8HvWI2hi+8a1fhWSxDbSM1HX0M+8e6E2Nf4zeKYzhnRkg99YY24WZZhijIud3CqJ14VP8cpfrALbUKtMKKs5Y5eTUwNpvcLn5iSYevm7kudBcpOgMe9syr91usXFclpKabSxDAUAxYAQ11zxGS+XLHGbTfkdfPIub751IYtEOKg3I4Tgqq1JPMqxV46NzE5MPaRg7rERzffokjlXBN1+dmG9fzVMQA3U4hKo558yu3nq5OoEc/iFRoIW0ZvbnLbqIcHS5u7sBMtt/X6WJcW3BporP3IExRdwQA97Fv4YyygyzMpw3k4VzPtYSr/5YJcdCODghri70rMk/V01DccLBYlT6CeUFjzfpey65vu06zc0Xqlzt4AUcKoSTWc1y8OQsv634GARoPYzlYJALBn9flyKVg46PqcmNDAk+LM5261YRPyOyxare8OpnMp3z7ok5/Jf2/tJBRFraO8CDoHRdzw++qar41frt4aAUJlG6feM/CZcBM3Cj9OcJs+ZcsCnzZFWcgw/qsaNlad2HIgWVsmbaR9pqvqAsafjRt178fZ53Hz0x212hb+zx7pNx0VRj59pDyl9dY1g0wYxyycSxcw1ePLRFtx3mC8RIJyubHCJmI/L1Yiy/hitzLlGPurkz8rc7kqggFxO7ZVfFyE10Ml11rhbuwV/B6zUGasHCb2TKiss2Cv8VYkjLl7h3onm8Z+dL/cVHaRRnlheIkfS+KRTI/0wmA1wDTfxPLxuLt/uHYXeHRcW16N/qA8HCmPs2xWmtbQemS75yR8+G3j+vJ4YaP3mkLplp5logw5N1ts1Kgq29U4OK0Go3ypNPhkF6+E+nN2He+G/uYJoFBpOImr8Jo/I2A0a7S/PdpB+KrKs3mphrnmiP9rPBV4Q91tRZV/LqngtSTPU0sY+rjX4kRs2fbQ4Dt+YYDoa2OTDVuOSgFMnaqBQnmm4ol+Hwj7CSgyPK6Sf1PlAZntPsA4Gkz6ndN4gOqsaU1nnzqYdYp706N/rmKuIOgdprvgH5WxuF/yVFTXIaf8kvDbY0r/ndQG2hHF06bSnL7/lGM596UiYaUxCnZ7fALUypdd6QIsFukw+UqB65x8qPSnCDEcG7IgaP8p5ASIp/ZT4qPYEKc3z2/e0HODC4AglB6gGkzqybF3Bf5FH3D4VrC7T528n+U0gdH4BK/F9qXcxVGMgemriXnoCGNWCmpv9S+eewvVuCwjSGFG8pIJbYsbNJJlXQ6d4nF80Ztxlb/SHNGp+NXj6t3+dlKh6aQ8dBHqmSsPtA1r+QlSC7hBgzB7mitAzPb3o4AxzZAPQuukJ3UGFJ0pUAhWx1FtHmQI3FdbYyz4Y7JzZLEmZzwCHjuuzY5oEfgX/BqB4in3ZzM7mmWVuMW2xoiCPKo6p5ziC6pzrBIHZjRUR8LQDaOkKtEKe/fugdN55mh6fVKjr2y2DUMMP4gMyx+Afw5GpSAePnDmFnqhkMxzC+VGrf6GwlehAesagcLVextxEQHBn8tjHCLz52BdEz97aC8XDMFb19Dy4LzoS0HFjv13SQcps1ZiqIyajZ1ugvApL2dHmj//oAqrvLCb7WyHO+hwolWKC746FZ6VkgVzPqY/ACU8wRHsReW5yeAZaMdGYhRktytrxRGXJe6LJ531B4HGZ6y01gY7VNCDjXcVAGzOR3DgDCmWH8pxrVRaxgQf2lgLAtZ0IZOohq6Ubi7ajSJnuBVCZxsBlmx++7aknBEJpYAlvQ0GcLLtV0ZeIAsEtrTDzbNpKqEVyjZTYurDjRsKZsAvuWk7SPggpuoCuvp8wVmfCxt8MPxw6twIWPXj2ZPhQLLNa+1Bwa+yfMMi6n77e8ymaZm/yGrI000KnGIW96bpxMA54Ix1vRlajFwrrnqCazepE1UKmtwvOzcTQgldzOQdPW1pd5wc2RUvMCcOktyuk9yE1eEq0xKonN9tA6jKazqo1S7Z6Tbfa4et2Y3LofpbXSQJzzuMqk0Ouz9/QR4oerzOF2v2+IjbuixYwVyqC0YEoZPR5q+fPtnTHypYuYLP/bXc5M5jxg5C1JDd5Z1Q6/rtfGUNoicqYt+syQKCe78TKBnhZ2JHueckmRafQ4+v7s1/leXLhsFR9Hb0O+v8YfIpGKK0IxUM/iI6VbVqjsjTP4AroFCQSe27fWwFuZESySuHsM0veBHmeFQDp9/Aa9wo8E9qMSgbHAfAElf/QwJboRz6/rQor26puorM0yd6sEZo0acvCWHq0bxHC8kY1uOzA+739VtFwcjkWLPutosHfBARwDKuGRLvpNk5vJEwvCZgYVLIFFrffnQ6bGsDyvztkP8Wt2T1a8QhIucO22hJEeX0YaIKM8k26CvrXy5tD+dmnzeHZl07AYwqefxkCycLOaLjfXoiKUVEQ/1fxZ5Mw2QMjiYWHX4jmHQXKPasSiFW9VNePUQ0jbTE7RoQYWwPRYV+RwlSg/lt+BmVfk9ZmECa6wlLdLxuMN2FRgaU5yenVItrvMgDRzDo3vCZxQPUmTofroDa7/llABBhS6YqnWeg6vOE6GoU6MxPqrtKiEGG3L6+zIZBTD/01k2UMxNWxzLJrU36HYcLzeBefrYmdoidjU58TH4RuF51byAER44H7KeqGtprSPuPwiNyfs3WRqGtiJ5eWjtqn2mJswaIz0LnO8Eusw7BkQsaaOIm+IW1OZXyIubrH5Ld8MZFojpHVC362QUqFVJr3lZxM9zR043ZF7owyGzng4UGBjSb2adn4SyVN+Ooo+GEVwxTUZ3ZElyOVfnN9GtEJAwukHAEd1X+xvEZOM1a97Y8Qx8N/71p7ArtGcg1f5zLzrbbfdqWthN76UWOidGpV03NOX2y284YfKFEIpJwigpM9UP+0lCJW1vc+IvHCuQc9dZbAWOdh/dsduwXxgtpv8nUo44dIbG97qJFmAbEaVtA1zt8Vn47QLQaURDJBFl04hme7yjOwOH0twH8x+wkD3Iv66pJ4BoGUQa8b7c2kWOtWR+06FBj2Lvxn8CT6iFhBq/ZZ1fsQTWDYmy1Bp9r4lmKnRPafBX+DtC2ID8aGSI/VqoLpRLtbs2i3mHJicITi/1N4lEwLaO9nd6lc/kAkRDre8S9F6GsplfUI0HGWwQoSyqSTw75AJw1oMbGiff6rxy8HumIP4ogvFr5yQENtbkMs34w+zHeM61y/kkAd887clK3sJI/xevFVGRYxTxYJt/eHVDu4eVa+rGQbKxEKaF+Odi5HRJR2Cbgg6JsvgwYQQwCeO3Vvz3l40/xmeFJpOQyhGaPbZ4QP1orJF6uPzD4FS8y4RgFclYgclS2HV/R/UU/+VnVxYVq63Q7/9y9JRitTXOSGxT66dyL6F66EWHJ2nh/iGsdrTEbH63WZq7Dwo7j3m06Yi1rlXIipH/lLEpGWqcjRErFO1ezqarg6zso23qP/KMRgrgOBzOBGBzPZEl3QfVCBg4lRk0ff63I60/Hf3eM/oXiYASFLEOlBVHC2Om4zuCYS7KjJezv2K2LhUzyH2Cww/z0vLnLt8pN7zb+eyCWu1Uk4BbYO8tFUA7nPO6dAw6abK5nQw+WskmJswB9+oo/XaKC4u9TCyyVD2YY4VzkIuLvW+6l2rRmzKx0zp3ccvjxyFkYCFPWA1D821l0lsC2DYWe67ZducDK7Pwd//OVIS/mp8UIucYEery8yEdMEWlQvTZ/qXrwMC4uNO+z35MOpGbJeZh4NhNtESsYzuAYiMbqkwrym7Dq1HyNGvv4XH2qGysZFNB8zRRWmuq2H1aMRqPB7SxiOTzt/GzNVSVu3l9KoC5mAjSbgJLaOGACzTUuzCx/tRZVP/wN/WXyPLJYRR54TMi8fmVJIdX2SgCeGb3/8wNTwI8uVNEGdHVyf8awasO45uG7c0VEKoi79qMkpeQyqzWZWduUfoGuyWJdvdBoQjgIvvu1jwpRBWLS4S0z9izVvEFRsQHToNqa1HwF370ZhYTeoiZQ6Nb14mAf1QWjbGDk5xNG6cj9111gg3lVbWdNed1nEruP2w/ZVFLIoHLBn+F5RPvbR6mToMI6JZNiEb/qCuqUmUb6zCDawKJnj4CQVdo6jFAqNmSHcogTB29WfjcYPy0ScGb3R21Scc/YQm5u5Qjfk0+oZSh63HPtFO/vtBPjrosJo8AbOFXAYsPSH5HLqesxbiRViFnF1rz6EVU71tLAIhtCwQ5iG2waox+ct5QjEaZr2hgKHuH1K0sBMGE1tQMulo7pauUQ4SERR/i5UIRCD+ubp97imDffK9aIxMZX6S6y3JOu8/6x4HsJA3MbRFYK2JWhU6tCju7nhsCq2tdrDBTEXTb2F2liOcOWH6ga6jjhPRbWC9biJPk52sPHfm9L5BmwTEVnXvJFAupyGG/Xwr8QvpIOdMyWNsa7U7KW9wpMxOpx8mcIFHZFV3j2JAJoDBFxQVImeRgxcIYupa+IR0jQkNPlEz7f0uUgcMtHH1cdNObT3XfZBCL7dHqHUsgUPzDJTgwT7UlCeBarXJhqEOZzn4eXRH87DMFe2MmmLndmtAxOAXUSqgdFtcg2JYULe3x3azKI2XY3rAzz7V11NlvrbSR9WrxziiP8IgMq/Mj72BAKapcVaB8v8v55PSmY9tti38S/j8L6O/Yo22Z8waC27mr9vnJIUeEE10VMk4uiMyA5mbynwQ5gpubpVIzMPMBOKsbLpf+BeS6DOvHsDzANcFILbRkj6LWZCmFT6jUFc2l+gp66mW11cS/oFc26EJw5TsPdB07KpnkAwM6sCfEUvLijToS9gmDJlsv1SljZmUZ1rLYBiBVG+r3RmG/VepJ1MXTHet3km3USoTns4JH4nd45cUAlWoY0TaeUqU2ZmPjdNPALIkR6S1Bo/88fbh0+2jUfOyMGdsBfDdGwy/Yf3Gm/UVP4RRxpYe9GRRcSaidFcWnxF+fmcjFUw5v/XBjC6+1WIfUDBm0RerSWjlJ7e7/gbcWv+GsLyttCk2z8GLKMoB3O/Er6rAsGNfzs6FAnsu6ylegKK4dRukzXWD1Ty2PfseNQVirEVCU15JhZJtY7aru7V2E0KSjakVqJQ0Xjv7UoxRoGO1XHORBJwyKsqR15Yy1bjEzeOUyDhXhcFnWb1MakFKT7sb9EnJc5HuZsFKPBuvwQRX5ZoG9/+boAMzniNxgbIQX9bc9uRp0xSO3b04d9rDbhb8PtbNFp8bQgD8Eh8c+WpRY2+aG41+hbuRFRyzaBJCCWHBNtgCPtC7iozT6mRyppU2owIAsYJHYDSZXZMHqRMT2KuwOPb7419kk6C66Xrrvk51/KVpQn9dgdw+ppac7f1jjiXtAQIlixCDtdsFot1cxH65eaV+elduSdBThr9ol33Q21ZY+q4d+f8dThb6fFS+blpCmqnxMhlZqFcvgz2bNlv4XA4zzNXuOzamw5Jk2nGSiBRMX0Hl6F5HJ+mYBdxpjEEzN22Y5pM174w2dDOY4pPYwpK5ACDCnsf430lzpUM6EqW3H57niv44cbyMc6hp2hjw0uFh8Q0AvAKb0y3xtObnAMuDmiXm/ze/rPKP1udjYQRaOlUTGhDvhshZPUMm9te2gbrp/UNa2uBSVbpBTgszV+mCAeUpasrLkNee/sHoRn6Z6za7BNoMQdX+y2B6W1qg1R1K7usdUhGdjtcwaA5fgxIo05vgBvjyRTiT7ZQWt4ubLdNnY5pVF2C0Az5499M0N/iEQ9+GesPQbshCny8Wb8MTDomWZ2R9nvIvBta1Sx4z0/rRcm8vkeW/8FDj9I4lGuQOYb/Fdb0SAf1NzhY34CsPU6haJxXKr8beMHV57MIR0ETZdP4HXXWlbjqWMK/Rwlbsc6lOEwCqrFhM44gYdAZO5NpFswDT6at6CJfekTH4FCsVv7K458BiZyO2Jaww5CXX81Zd6TygoZMoju15q/r1RSY9dsSLqRbthtKA0hDzJJCBY3BedRzZJFO1W29Pl5hCbd6zkI/rQA497vTC44DhxSPFvXHePjzGYz6WaB9reUhBN7w1wiGsHktta6nq8A8wyn/19/yjcYyhsHQtlGxT1TckMjZ19i5oMisZsP5ZWXnrZCaGMPGS6n/1pz/UsYFInonXIMxMVtNgJlgLOKYfiOoERiXq73uqryY1UGyoXIyhZ8YPt87VIXbdCX5rWt1BK49n0OYFU1CKKxghHvzd3Cq8DNxR1t6FGBYeKCPYon8YvDEmXS994VPBajsHZmVXGDwHGF/UxZeoDBmfU8zzsPvhPiSOtrk1m59UaU+Xd0kkr7Fq5KAwO8mzP4YogL7WYZ9UTkcZvH/oy32ViYEihfxfISaT+AZRxFn2bgqlSYFcTvjiEg=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94BD78EE014641871BE0AC327E8323" ma:contentTypeVersion="5" ma:contentTypeDescription="Create a new document." ma:contentTypeScope="" ma:versionID="025aef7002659a7f9fb751630d0294d9">
  <xsd:schema xmlns:xsd="http://www.w3.org/2001/XMLSchema" xmlns:xs="http://www.w3.org/2001/XMLSchema" xmlns:p="http://schemas.microsoft.com/office/2006/metadata/properties" xmlns:ns2="84ff6eb5-ea5c-4414-bca8-f7b0b13905c1" targetNamespace="http://schemas.microsoft.com/office/2006/metadata/properties" ma:root="true" ma:fieldsID="31d543ae2954dc5e11d6a263e3385a09" ns2:_="">
    <xsd:import namespace="84ff6eb5-ea5c-4414-bca8-f7b0b13905c1"/>
    <xsd:element name="properties">
      <xsd:complexType>
        <xsd:sequence>
          <xsd:element name="documentManagement">
            <xsd:complexType>
              <xsd:all>
                <xsd:element ref="ns2:xSherpaClassifyTag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ff6eb5-ea5c-4414-bca8-f7b0b13905c1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dexed="true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84ff6eb5-ea5c-4414-bca8-f7b0b13905c1" xsi:nil="true"/>
  </documentManagement>
</p:properties>
</file>

<file path=customXml/itemProps1.xml><?xml version="1.0" encoding="utf-8"?>
<ds:datastoreItem xmlns:ds="http://schemas.openxmlformats.org/officeDocument/2006/customXml" ds:itemID="{C4653193-3C22-4C1B-A76F-9989C4E83C18}">
  <ds:schemaRefs>
    <ds:schemaRef ds:uri="84ff6eb5-ea5c-4414-bca8-f7b0b13905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67CF06-2CD7-4D7F-85A6-84F8F4780F1A}">
  <ds:schemaRefs>
    <ds:schemaRef ds:uri="http://purl.org/dc/dcmitype/"/>
    <ds:schemaRef ds:uri="http://purl.org/dc/elements/1.1/"/>
    <ds:schemaRef ds:uri="84ff6eb5-ea5c-4414-bca8-f7b0b13905c1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6</TotalTime>
  <Words>991</Words>
  <Application>Microsoft Office PowerPoint</Application>
  <PresentationFormat>Widescreen</PresentationFormat>
  <Paragraphs>120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Calibri</vt:lpstr>
      <vt:lpstr>1_Bain Core</vt:lpstr>
      <vt:lpstr>think-cell Slide</vt:lpstr>
      <vt:lpstr>Brand ratings: Sphere mid of the pack on advocacy with a 3.8 avg. rating; Guardian leads with 4.9, followed by National-level brands</vt:lpstr>
      <vt:lpstr>Ratings overtime: After peaking in 2023, dip seen in Sphere’s sentiment over the last year</vt:lpstr>
      <vt:lpstr>Sentiment drivers: Sphere rated net positive on the top-4 / key criteria; Guardian leads on advocacy on most of the themes</vt:lpstr>
      <vt:lpstr>Sphere: Largely positive sentiment around staff professionalism, overall customer service, quality, and timeliness &amp; punctuality; minor concerns on price and reliabilit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Aphrodite – BCN PEG Digital Diagnostic</dc:title>
  <dc:creator>Dantes, Reuben</dc:creator>
  <cp:lastModifiedBy>Singh, Saurabh</cp:lastModifiedBy>
  <cp:revision>2</cp:revision>
  <cp:lastPrinted>2017-02-15T14:23:56Z</cp:lastPrinted>
  <dcterms:created xsi:type="dcterms:W3CDTF">2023-10-17T19:56:54Z</dcterms:created>
  <dcterms:modified xsi:type="dcterms:W3CDTF">2025-05-22T07:2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94BD78EE014641871BE0AC327E8323</vt:lpwstr>
  </property>
</Properties>
</file>